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4.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heme/theme5.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3" r:id="rId2"/>
    <p:sldMasterId id="2147483666" r:id="rId3"/>
    <p:sldMasterId id="2147483669" r:id="rId4"/>
  </p:sldMasterIdLst>
  <p:notesMasterIdLst>
    <p:notesMasterId r:id="rId6"/>
  </p:notesMasterIdLst>
  <p:sldIdLst>
    <p:sldId id="6211" r:id="rId5"/>
  </p:sldIdLst>
  <p:sldSz cx="12192000" cy="6858000"/>
  <p:notesSz cx="6858000" cy="9144000"/>
  <p:custDataLst>
    <p:tags r:id="rId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62" d="100"/>
          <a:sy n="62" d="100"/>
        </p:scale>
        <p:origin x="58" y="187"/>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tags" Target="tags/tag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CDEEB1-F83D-45D7-9ED8-1AC5A32FB6E2}" type="datetimeFigureOut">
              <a:rPr lang="en-US" smtClean="0"/>
              <a:t>11/16/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12BA92-625A-4260-9CE8-C3F709E17702}" type="slidenum">
              <a:rPr lang="en-US" smtClean="0"/>
              <a:t>‹#›</a:t>
            </a:fld>
            <a:endParaRPr lang="en-US"/>
          </a:p>
        </p:txBody>
      </p:sp>
    </p:spTree>
    <p:extLst>
      <p:ext uri="{BB962C8B-B14F-4D97-AF65-F5344CB8AC3E}">
        <p14:creationId xmlns:p14="http://schemas.microsoft.com/office/powerpoint/2010/main" val="10775752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g num"/>
          <p:cNvSpPr>
            <a:spLocks noGrp="1" noChangeArrowheads="1"/>
          </p:cNvSpPr>
          <p:nvPr>
            <p:ph type="sldNum" sz="quarter" idx="5"/>
          </p:nvPr>
        </p:nvSpPr>
        <p:spPr>
          <a:xfrm>
            <a:off x="5505553" y="9407650"/>
            <a:ext cx="158827" cy="369332"/>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BA328F3-BF94-4B98-A5D6-6221A58CA9F6}" type="slidenum">
              <a:rPr kumimoji="0" 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5" name="doc id"/>
          <p:cNvSpPr>
            <a:spLocks noGrp="1" noChangeArrowheads="1"/>
          </p:cNvSpPr>
          <p:nvPr>
            <p:ph type="ftr" sz="quarter" idx="4"/>
          </p:nvPr>
        </p:nvSpPr>
        <p:spPr>
          <a:xfrm>
            <a:off x="2946949" y="111850"/>
            <a:ext cx="2720296" cy="123111"/>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charset="0"/>
                <a:ea typeface="+mn-ea"/>
                <a:cs typeface="+mn-cs"/>
              </a:rPr>
              <a:t>BVA-041302-364-20080625-GE1-v6(DTM_13_2008-06-11)</a:t>
            </a:r>
          </a:p>
        </p:txBody>
      </p:sp>
      <p:sp>
        <p:nvSpPr>
          <p:cNvPr id="1744898" name="Rectangle 2"/>
          <p:cNvSpPr>
            <a:spLocks noGrp="1" noRot="1" noChangeAspect="1" noChangeArrowheads="1" noTextEdit="1"/>
          </p:cNvSpPr>
          <p:nvPr>
            <p:ph type="sldImg"/>
          </p:nvPr>
        </p:nvSpPr>
        <p:spPr>
          <a:xfrm>
            <a:off x="-280988" y="747713"/>
            <a:ext cx="6646863" cy="3740150"/>
          </a:xfrm>
          <a:ln/>
        </p:spPr>
      </p:sp>
      <p:sp>
        <p:nvSpPr>
          <p:cNvPr id="1744899" name="Rectangle 3"/>
          <p:cNvSpPr>
            <a:spLocks noGrp="1" noChangeArrowheads="1"/>
          </p:cNvSpPr>
          <p:nvPr>
            <p:ph type="body" idx="1"/>
          </p:nvPr>
        </p:nvSpPr>
        <p:spPr>
          <a:xfrm>
            <a:off x="610962" y="4735581"/>
            <a:ext cx="4864937" cy="255060"/>
          </a:xfrm>
        </p:spPr>
        <p:txBody>
          <a:bodyPr/>
          <a:lstStyle/>
          <a:p>
            <a:endParaRPr lang="en-US" dirty="0"/>
          </a:p>
        </p:txBody>
      </p:sp>
    </p:spTree>
    <p:extLst>
      <p:ext uri="{BB962C8B-B14F-4D97-AF65-F5344CB8AC3E}">
        <p14:creationId xmlns:p14="http://schemas.microsoft.com/office/powerpoint/2010/main" val="22536320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vmlDrawing" Target="../drawings/vmlDrawing5.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6.v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7.xml"/><Relationship Id="rId1" Type="http://schemas.openxmlformats.org/officeDocument/2006/relationships/vmlDrawing" Target="../drawings/vmlDrawing8.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8.xml"/><Relationship Id="rId1" Type="http://schemas.openxmlformats.org/officeDocument/2006/relationships/vmlDrawing" Target="../drawings/vmlDrawing9.vml"/><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6.xml"/><Relationship Id="rId1" Type="http://schemas.openxmlformats.org/officeDocument/2006/relationships/vmlDrawing" Target="../drawings/vmlDrawing11.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7.xml"/><Relationship Id="rId1" Type="http://schemas.openxmlformats.org/officeDocument/2006/relationships/vmlDrawing" Target="../drawings/vmlDrawing12.vml"/><Relationship Id="rId5" Type="http://schemas.openxmlformats.org/officeDocument/2006/relationships/image" Target="../media/image4.emf"/><Relationship Id="rId4" Type="http://schemas.openxmlformats.org/officeDocument/2006/relationships/oleObject" Target="../embeddings/oleObject1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56570826"/>
              </p:ex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214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211667" cy="158750"/>
                      </a:xfrm>
                      <a:prstGeom prst="rect">
                        <a:avLst/>
                      </a:prstGeom>
                    </p:spPr>
                  </p:pic>
                </p:oleObj>
              </mc:Fallback>
            </mc:AlternateContent>
          </a:graphicData>
        </a:graphic>
      </p:graphicFrame>
      <p:sp>
        <p:nvSpPr>
          <p:cNvPr id="16" name="Rectangle 15"/>
          <p:cNvSpPr/>
          <p:nvPr userDrawn="1"/>
        </p:nvSpPr>
        <p:spPr bwMode="auto">
          <a:xfrm>
            <a:off x="8"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17" name="Rectangle 16" descr="&lt;Shell Yellow Bar&gt;" title="&lt;Shell Yellow Bar&gt;"/>
          <p:cNvSpPr/>
          <p:nvPr userDrawn="1"/>
        </p:nvSpPr>
        <p:spPr bwMode="auto">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8" name="Picture 17" descr="PECTEN.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127000" y="645968"/>
            <a:ext cx="1524000" cy="1524000"/>
          </a:xfrm>
          <a:prstGeom prst="rect">
            <a:avLst/>
          </a:prstGeom>
        </p:spPr>
      </p:pic>
      <p:sp>
        <p:nvSpPr>
          <p:cNvPr id="9" name="Document type" hidden="1"/>
          <p:cNvSpPr txBox="1">
            <a:spLocks noChangeArrowheads="1"/>
          </p:cNvSpPr>
          <p:nvPr/>
        </p:nvSpPr>
        <p:spPr bwMode="auto">
          <a:xfrm>
            <a:off x="1778011" y="3765268"/>
            <a:ext cx="6694609" cy="2154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1400" baseline="0" noProof="0" dirty="0">
                <a:solidFill>
                  <a:schemeClr val="accent6"/>
                </a:solidFill>
                <a:latin typeface="+mn-lt"/>
              </a:rPr>
              <a:t>Document type | </a:t>
            </a:r>
            <a:r>
              <a:rPr lang="en-US" sz="1400" kern="1200" baseline="0" noProof="0" dirty="0">
                <a:solidFill>
                  <a:schemeClr val="accent6"/>
                </a:solidFill>
                <a:latin typeface="+mn-lt"/>
                <a:ea typeface="+mn-ea"/>
                <a:cs typeface="+mn-cs"/>
              </a:rPr>
              <a:t>Date</a:t>
            </a:r>
            <a:endParaRPr lang="en-US" sz="1400" baseline="0" noProof="0" dirty="0">
              <a:solidFill>
                <a:schemeClr val="accent6"/>
              </a:solidFill>
              <a:latin typeface="+mn-lt"/>
            </a:endParaRPr>
          </a:p>
        </p:txBody>
      </p:sp>
      <p:sp>
        <p:nvSpPr>
          <p:cNvPr id="13314" name="Rectangle 1026"/>
          <p:cNvSpPr>
            <a:spLocks noGrp="1" noChangeArrowheads="1"/>
          </p:cNvSpPr>
          <p:nvPr>
            <p:ph type="ctrTitle"/>
          </p:nvPr>
        </p:nvSpPr>
        <p:spPr bwMode="auto">
          <a:xfrm>
            <a:off x="1778011" y="1161746"/>
            <a:ext cx="6694609" cy="492443"/>
          </a:xfrm>
          <a:prstGeom prst="rect">
            <a:avLst/>
          </a:prstGeom>
        </p:spPr>
        <p:txBody>
          <a:bodyPr wrap="square">
            <a:spAutoFit/>
          </a:bodyPr>
          <a:lstStyle>
            <a:lvl1pPr algn="l">
              <a:defRPr sz="3200" b="0" cap="none"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1778011" y="2602007"/>
            <a:ext cx="6694609" cy="215444"/>
          </a:xfrm>
        </p:spPr>
        <p:txBody>
          <a:bodyPr>
            <a:spAutoFit/>
          </a:bodyPr>
          <a:lstStyle>
            <a:lvl1pPr algn="l">
              <a:defRPr sz="1400" cap="all" baseline="0">
                <a:solidFill>
                  <a:schemeClr val="accent6"/>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11061355"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chemeClr val="accent6"/>
              </a:solidFill>
              <a:latin typeface="+mn-lt"/>
              <a:ea typeface="+mn-ea"/>
            </a:endParaRPr>
          </a:p>
        </p:txBody>
      </p:sp>
    </p:spTree>
    <p:extLst>
      <p:ext uri="{BB962C8B-B14F-4D97-AF65-F5344CB8AC3E}">
        <p14:creationId xmlns:p14="http://schemas.microsoft.com/office/powerpoint/2010/main" val="3746503264"/>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260191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68"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12735007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37799391"/>
              </p:ex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521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211667" cy="158750"/>
                      </a:xfrm>
                      <a:prstGeom prst="rect">
                        <a:avLst/>
                      </a:prstGeom>
                    </p:spPr>
                  </p:pic>
                </p:oleObj>
              </mc:Fallback>
            </mc:AlternateContent>
          </a:graphicData>
        </a:graphic>
      </p:graphicFrame>
      <p:sp>
        <p:nvSpPr>
          <p:cNvPr id="16" name="Rectangle 15"/>
          <p:cNvSpPr/>
          <p:nvPr userDrawn="1"/>
        </p:nvSpPr>
        <p:spPr bwMode="auto">
          <a:xfrm>
            <a:off x="8"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17" name="Rectangle 16" descr="&lt;Shell Yellow Bar&gt;" title="&lt;Shell Yellow Bar&gt;"/>
          <p:cNvSpPr/>
          <p:nvPr userDrawn="1"/>
        </p:nvSpPr>
        <p:spPr bwMode="auto">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8" name="Picture 17" descr="PECTEN.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127000" y="645968"/>
            <a:ext cx="1524000" cy="1524000"/>
          </a:xfrm>
          <a:prstGeom prst="rect">
            <a:avLst/>
          </a:prstGeom>
        </p:spPr>
      </p:pic>
      <p:sp>
        <p:nvSpPr>
          <p:cNvPr id="9" name="Document type" hidden="1"/>
          <p:cNvSpPr txBox="1">
            <a:spLocks noChangeArrowheads="1"/>
          </p:cNvSpPr>
          <p:nvPr/>
        </p:nvSpPr>
        <p:spPr bwMode="auto">
          <a:xfrm>
            <a:off x="1778011" y="3765268"/>
            <a:ext cx="6694609" cy="2154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1400" baseline="0" noProof="0" dirty="0">
                <a:solidFill>
                  <a:schemeClr val="accent6"/>
                </a:solidFill>
                <a:latin typeface="+mn-lt"/>
              </a:rPr>
              <a:t>Document type | </a:t>
            </a:r>
            <a:r>
              <a:rPr lang="en-US" sz="1400" kern="1200" baseline="0" noProof="0" dirty="0">
                <a:solidFill>
                  <a:schemeClr val="accent6"/>
                </a:solidFill>
                <a:latin typeface="+mn-lt"/>
                <a:ea typeface="+mn-ea"/>
                <a:cs typeface="+mn-cs"/>
              </a:rPr>
              <a:t>Date</a:t>
            </a:r>
            <a:endParaRPr lang="en-US" sz="1400" baseline="0" noProof="0" dirty="0">
              <a:solidFill>
                <a:schemeClr val="accent6"/>
              </a:solidFill>
              <a:latin typeface="+mn-lt"/>
            </a:endParaRPr>
          </a:p>
        </p:txBody>
      </p:sp>
      <p:sp>
        <p:nvSpPr>
          <p:cNvPr id="13314" name="Rectangle 1026"/>
          <p:cNvSpPr>
            <a:spLocks noGrp="1" noChangeArrowheads="1"/>
          </p:cNvSpPr>
          <p:nvPr>
            <p:ph type="ctrTitle"/>
          </p:nvPr>
        </p:nvSpPr>
        <p:spPr bwMode="auto">
          <a:xfrm>
            <a:off x="1778011" y="1161746"/>
            <a:ext cx="6694609" cy="492443"/>
          </a:xfrm>
          <a:prstGeom prst="rect">
            <a:avLst/>
          </a:prstGeom>
        </p:spPr>
        <p:txBody>
          <a:bodyPr wrap="square">
            <a:spAutoFit/>
          </a:bodyPr>
          <a:lstStyle>
            <a:lvl1pPr algn="l">
              <a:defRPr sz="3200" b="0" cap="none"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1778011" y="2602007"/>
            <a:ext cx="6694609" cy="215444"/>
          </a:xfrm>
        </p:spPr>
        <p:txBody>
          <a:bodyPr>
            <a:spAutoFit/>
          </a:bodyPr>
          <a:lstStyle>
            <a:lvl1pPr algn="l">
              <a:defRPr sz="1400" cap="all" baseline="0">
                <a:solidFill>
                  <a:schemeClr val="accent6"/>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11061355"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chemeClr val="accent6"/>
              </a:solidFill>
              <a:latin typeface="+mn-lt"/>
              <a:ea typeface="+mn-ea"/>
            </a:endParaRPr>
          </a:p>
        </p:txBody>
      </p:sp>
    </p:spTree>
    <p:extLst>
      <p:ext uri="{BB962C8B-B14F-4D97-AF65-F5344CB8AC3E}">
        <p14:creationId xmlns:p14="http://schemas.microsoft.com/office/powerpoint/2010/main" val="1520900055"/>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347782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0"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31386249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23205605"/>
              </p:ex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337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211667" cy="158750"/>
                      </a:xfrm>
                      <a:prstGeom prst="rect">
                        <a:avLst/>
                      </a:prstGeom>
                    </p:spPr>
                  </p:pic>
                </p:oleObj>
              </mc:Fallback>
            </mc:AlternateContent>
          </a:graphicData>
        </a:graphic>
      </p:graphicFrame>
      <p:sp>
        <p:nvSpPr>
          <p:cNvPr id="16" name="Rectangle 15"/>
          <p:cNvSpPr/>
          <p:nvPr userDrawn="1"/>
        </p:nvSpPr>
        <p:spPr bwMode="auto">
          <a:xfrm>
            <a:off x="8"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17" name="Rectangle 16" descr="&lt;Shell Yellow Bar&gt;" title="&lt;Shell Yellow Bar&gt;"/>
          <p:cNvSpPr/>
          <p:nvPr userDrawn="1"/>
        </p:nvSpPr>
        <p:spPr bwMode="auto">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8" name="Picture 17" descr="PECTEN.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127000" y="645968"/>
            <a:ext cx="1524000" cy="1524000"/>
          </a:xfrm>
          <a:prstGeom prst="rect">
            <a:avLst/>
          </a:prstGeom>
        </p:spPr>
      </p:pic>
      <p:sp>
        <p:nvSpPr>
          <p:cNvPr id="9" name="Document type" hidden="1"/>
          <p:cNvSpPr txBox="1">
            <a:spLocks noChangeArrowheads="1"/>
          </p:cNvSpPr>
          <p:nvPr/>
        </p:nvSpPr>
        <p:spPr bwMode="auto">
          <a:xfrm>
            <a:off x="1778011" y="3765268"/>
            <a:ext cx="6694609" cy="2154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1400" baseline="0" noProof="0" dirty="0">
                <a:solidFill>
                  <a:schemeClr val="accent6"/>
                </a:solidFill>
                <a:latin typeface="+mn-lt"/>
              </a:rPr>
              <a:t>Document type | </a:t>
            </a:r>
            <a:r>
              <a:rPr lang="en-US" sz="1400" kern="1200" baseline="0" noProof="0" dirty="0">
                <a:solidFill>
                  <a:schemeClr val="accent6"/>
                </a:solidFill>
                <a:latin typeface="+mn-lt"/>
                <a:ea typeface="+mn-ea"/>
                <a:cs typeface="+mn-cs"/>
              </a:rPr>
              <a:t>Date</a:t>
            </a:r>
            <a:endParaRPr lang="en-US" sz="1400" baseline="0" noProof="0" dirty="0">
              <a:solidFill>
                <a:schemeClr val="accent6"/>
              </a:solidFill>
              <a:latin typeface="+mn-lt"/>
            </a:endParaRPr>
          </a:p>
        </p:txBody>
      </p:sp>
      <p:sp>
        <p:nvSpPr>
          <p:cNvPr id="13314" name="Rectangle 1026"/>
          <p:cNvSpPr>
            <a:spLocks noGrp="1" noChangeArrowheads="1"/>
          </p:cNvSpPr>
          <p:nvPr>
            <p:ph type="ctrTitle"/>
          </p:nvPr>
        </p:nvSpPr>
        <p:spPr bwMode="auto">
          <a:xfrm>
            <a:off x="1778011" y="1161746"/>
            <a:ext cx="6694609" cy="492443"/>
          </a:xfrm>
          <a:prstGeom prst="rect">
            <a:avLst/>
          </a:prstGeom>
        </p:spPr>
        <p:txBody>
          <a:bodyPr wrap="square">
            <a:spAutoFit/>
          </a:bodyPr>
          <a:lstStyle>
            <a:lvl1pPr algn="l">
              <a:defRPr sz="3200" b="0" cap="none"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1778011" y="2602007"/>
            <a:ext cx="6694609" cy="215444"/>
          </a:xfrm>
        </p:spPr>
        <p:txBody>
          <a:bodyPr>
            <a:spAutoFit/>
          </a:bodyPr>
          <a:lstStyle>
            <a:lvl1pPr algn="l">
              <a:defRPr sz="1400" cap="all" baseline="0">
                <a:solidFill>
                  <a:schemeClr val="accent6"/>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11061355"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chemeClr val="accent6"/>
              </a:solidFill>
              <a:latin typeface="+mn-lt"/>
              <a:ea typeface="+mn-ea"/>
            </a:endParaRPr>
          </a:p>
        </p:txBody>
      </p:sp>
    </p:spTree>
    <p:extLst>
      <p:ext uri="{BB962C8B-B14F-4D97-AF65-F5344CB8AC3E}">
        <p14:creationId xmlns:p14="http://schemas.microsoft.com/office/powerpoint/2010/main" val="60805525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917893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22"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10128521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86167240"/>
              </p:ex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3687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211667" cy="158750"/>
                      </a:xfrm>
                      <a:prstGeom prst="rect">
                        <a:avLst/>
                      </a:prstGeom>
                    </p:spPr>
                  </p:pic>
                </p:oleObj>
              </mc:Fallback>
            </mc:AlternateContent>
          </a:graphicData>
        </a:graphic>
      </p:graphicFrame>
      <p:sp>
        <p:nvSpPr>
          <p:cNvPr id="16" name="Rectangle 15"/>
          <p:cNvSpPr/>
          <p:nvPr userDrawn="1"/>
        </p:nvSpPr>
        <p:spPr bwMode="auto">
          <a:xfrm>
            <a:off x="8"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17" name="Rectangle 16" descr="&lt;Shell Yellow Bar&gt;" title="&lt;Shell Yellow Bar&gt;"/>
          <p:cNvSpPr/>
          <p:nvPr userDrawn="1"/>
        </p:nvSpPr>
        <p:spPr bwMode="auto">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8" name="Picture 17" descr="PECTEN.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127000" y="645968"/>
            <a:ext cx="1524000" cy="1524000"/>
          </a:xfrm>
          <a:prstGeom prst="rect">
            <a:avLst/>
          </a:prstGeom>
        </p:spPr>
      </p:pic>
      <p:sp>
        <p:nvSpPr>
          <p:cNvPr id="9" name="Document type" hidden="1"/>
          <p:cNvSpPr txBox="1">
            <a:spLocks noChangeArrowheads="1"/>
          </p:cNvSpPr>
          <p:nvPr/>
        </p:nvSpPr>
        <p:spPr bwMode="auto">
          <a:xfrm>
            <a:off x="1778011" y="3765268"/>
            <a:ext cx="6694609" cy="2154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1400" baseline="0" noProof="0" dirty="0">
                <a:solidFill>
                  <a:schemeClr val="accent6"/>
                </a:solidFill>
                <a:latin typeface="+mn-lt"/>
              </a:rPr>
              <a:t>Document type | </a:t>
            </a:r>
            <a:r>
              <a:rPr lang="en-US" sz="1400" kern="1200" baseline="0" noProof="0" dirty="0">
                <a:solidFill>
                  <a:schemeClr val="accent6"/>
                </a:solidFill>
                <a:latin typeface="+mn-lt"/>
                <a:ea typeface="+mn-ea"/>
                <a:cs typeface="+mn-cs"/>
              </a:rPr>
              <a:t>Date</a:t>
            </a:r>
            <a:endParaRPr lang="en-US" sz="1400" baseline="0" noProof="0" dirty="0">
              <a:solidFill>
                <a:schemeClr val="accent6"/>
              </a:solidFill>
              <a:latin typeface="+mn-lt"/>
            </a:endParaRPr>
          </a:p>
        </p:txBody>
      </p:sp>
      <p:sp>
        <p:nvSpPr>
          <p:cNvPr id="13314" name="Rectangle 1026"/>
          <p:cNvSpPr>
            <a:spLocks noGrp="1" noChangeArrowheads="1"/>
          </p:cNvSpPr>
          <p:nvPr>
            <p:ph type="ctrTitle"/>
          </p:nvPr>
        </p:nvSpPr>
        <p:spPr bwMode="auto">
          <a:xfrm>
            <a:off x="1778011" y="1161746"/>
            <a:ext cx="6694609" cy="492443"/>
          </a:xfrm>
          <a:prstGeom prst="rect">
            <a:avLst/>
          </a:prstGeom>
        </p:spPr>
        <p:txBody>
          <a:bodyPr wrap="square">
            <a:spAutoFit/>
          </a:bodyPr>
          <a:lstStyle>
            <a:lvl1pPr algn="l">
              <a:defRPr sz="3200" b="0" cap="none"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1778011" y="2602007"/>
            <a:ext cx="6694609" cy="215444"/>
          </a:xfrm>
        </p:spPr>
        <p:txBody>
          <a:bodyPr>
            <a:spAutoFit/>
          </a:bodyPr>
          <a:lstStyle>
            <a:lvl1pPr algn="l">
              <a:defRPr sz="1400" cap="all" baseline="0">
                <a:solidFill>
                  <a:schemeClr val="accent6"/>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11061355"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chemeClr val="accent6"/>
              </a:solidFill>
              <a:latin typeface="+mn-lt"/>
              <a:ea typeface="+mn-ea"/>
            </a:endParaRPr>
          </a:p>
        </p:txBody>
      </p:sp>
    </p:spTree>
    <p:extLst>
      <p:ext uri="{BB962C8B-B14F-4D97-AF65-F5344CB8AC3E}">
        <p14:creationId xmlns:p14="http://schemas.microsoft.com/office/powerpoint/2010/main" val="2779497377"/>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284822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94"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5309611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1.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image" Target="../media/image1.emf"/><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vmlDrawing" Target="../drawings/vmlDrawing1.v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18" Type="http://schemas.openxmlformats.org/officeDocument/2006/relationships/tags" Target="../tags/tag34.xml"/><Relationship Id="rId3" Type="http://schemas.openxmlformats.org/officeDocument/2006/relationships/theme" Target="../theme/theme2.xml"/><Relationship Id="rId21" Type="http://schemas.openxmlformats.org/officeDocument/2006/relationships/tags" Target="../tags/tag37.xml"/><Relationship Id="rId7" Type="http://schemas.openxmlformats.org/officeDocument/2006/relationships/tags" Target="../tags/tag23.xml"/><Relationship Id="rId12" Type="http://schemas.openxmlformats.org/officeDocument/2006/relationships/tags" Target="../tags/tag28.xml"/><Relationship Id="rId17" Type="http://schemas.openxmlformats.org/officeDocument/2006/relationships/tags" Target="../tags/tag33.xml"/><Relationship Id="rId2" Type="http://schemas.openxmlformats.org/officeDocument/2006/relationships/slideLayout" Target="../slideLayouts/slideLayout4.xml"/><Relationship Id="rId16" Type="http://schemas.openxmlformats.org/officeDocument/2006/relationships/tags" Target="../tags/tag32.xml"/><Relationship Id="rId20" Type="http://schemas.openxmlformats.org/officeDocument/2006/relationships/tags" Target="../tags/tag36.xml"/><Relationship Id="rId1" Type="http://schemas.openxmlformats.org/officeDocument/2006/relationships/slideLayout" Target="../slideLayouts/slideLayout3.xml"/><Relationship Id="rId6" Type="http://schemas.openxmlformats.org/officeDocument/2006/relationships/tags" Target="../tags/tag22.xml"/><Relationship Id="rId11" Type="http://schemas.openxmlformats.org/officeDocument/2006/relationships/tags" Target="../tags/tag27.xml"/><Relationship Id="rId5" Type="http://schemas.openxmlformats.org/officeDocument/2006/relationships/tags" Target="../tags/tag21.xml"/><Relationship Id="rId15" Type="http://schemas.openxmlformats.org/officeDocument/2006/relationships/tags" Target="../tags/tag31.xml"/><Relationship Id="rId23" Type="http://schemas.openxmlformats.org/officeDocument/2006/relationships/image" Target="../media/image1.emf"/><Relationship Id="rId10" Type="http://schemas.openxmlformats.org/officeDocument/2006/relationships/tags" Target="../tags/tag26.xml"/><Relationship Id="rId19" Type="http://schemas.openxmlformats.org/officeDocument/2006/relationships/tags" Target="../tags/tag35.xml"/><Relationship Id="rId4" Type="http://schemas.openxmlformats.org/officeDocument/2006/relationships/vmlDrawing" Target="../drawings/vmlDrawing4.vml"/><Relationship Id="rId9" Type="http://schemas.openxmlformats.org/officeDocument/2006/relationships/tags" Target="../tags/tag25.xml"/><Relationship Id="rId14" Type="http://schemas.openxmlformats.org/officeDocument/2006/relationships/tags" Target="../tags/tag30.xml"/><Relationship Id="rId22" Type="http://schemas.openxmlformats.org/officeDocument/2006/relationships/oleObject" Target="../embeddings/oleObject4.bin"/></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18" Type="http://schemas.openxmlformats.org/officeDocument/2006/relationships/tags" Target="../tags/tag53.xml"/><Relationship Id="rId3" Type="http://schemas.openxmlformats.org/officeDocument/2006/relationships/theme" Target="../theme/theme3.xml"/><Relationship Id="rId21" Type="http://schemas.openxmlformats.org/officeDocument/2006/relationships/tags" Target="../tags/tag56.xml"/><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tags" Target="../tags/tag52.xml"/><Relationship Id="rId2" Type="http://schemas.openxmlformats.org/officeDocument/2006/relationships/slideLayout" Target="../slideLayouts/slideLayout6.xml"/><Relationship Id="rId16" Type="http://schemas.openxmlformats.org/officeDocument/2006/relationships/tags" Target="../tags/tag51.xml"/><Relationship Id="rId20" Type="http://schemas.openxmlformats.org/officeDocument/2006/relationships/tags" Target="../tags/tag55.xml"/><Relationship Id="rId1" Type="http://schemas.openxmlformats.org/officeDocument/2006/relationships/slideLayout" Target="../slideLayouts/slideLayout5.xml"/><Relationship Id="rId6" Type="http://schemas.openxmlformats.org/officeDocument/2006/relationships/tags" Target="../tags/tag41.xml"/><Relationship Id="rId11" Type="http://schemas.openxmlformats.org/officeDocument/2006/relationships/tags" Target="../tags/tag46.xml"/><Relationship Id="rId5" Type="http://schemas.openxmlformats.org/officeDocument/2006/relationships/tags" Target="../tags/tag40.xml"/><Relationship Id="rId15" Type="http://schemas.openxmlformats.org/officeDocument/2006/relationships/tags" Target="../tags/tag50.xml"/><Relationship Id="rId23" Type="http://schemas.openxmlformats.org/officeDocument/2006/relationships/image" Target="../media/image1.emf"/><Relationship Id="rId10" Type="http://schemas.openxmlformats.org/officeDocument/2006/relationships/tags" Target="../tags/tag45.xml"/><Relationship Id="rId19" Type="http://schemas.openxmlformats.org/officeDocument/2006/relationships/tags" Target="../tags/tag54.xml"/><Relationship Id="rId4" Type="http://schemas.openxmlformats.org/officeDocument/2006/relationships/vmlDrawing" Target="../drawings/vmlDrawing7.vml"/><Relationship Id="rId9" Type="http://schemas.openxmlformats.org/officeDocument/2006/relationships/tags" Target="../tags/tag44.xml"/><Relationship Id="rId14" Type="http://schemas.openxmlformats.org/officeDocument/2006/relationships/tags" Target="../tags/tag49.xml"/><Relationship Id="rId22" Type="http://schemas.openxmlformats.org/officeDocument/2006/relationships/oleObject" Target="../embeddings/oleObject7.bin"/></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tags" Target="../tags/tag67.xml"/><Relationship Id="rId18" Type="http://schemas.openxmlformats.org/officeDocument/2006/relationships/tags" Target="../tags/tag72.xml"/><Relationship Id="rId3" Type="http://schemas.openxmlformats.org/officeDocument/2006/relationships/theme" Target="../theme/theme4.xml"/><Relationship Id="rId21" Type="http://schemas.openxmlformats.org/officeDocument/2006/relationships/tags" Target="../tags/tag75.xml"/><Relationship Id="rId7" Type="http://schemas.openxmlformats.org/officeDocument/2006/relationships/tags" Target="../tags/tag61.xml"/><Relationship Id="rId12" Type="http://schemas.openxmlformats.org/officeDocument/2006/relationships/tags" Target="../tags/tag66.xml"/><Relationship Id="rId17" Type="http://schemas.openxmlformats.org/officeDocument/2006/relationships/tags" Target="../tags/tag71.xml"/><Relationship Id="rId2" Type="http://schemas.openxmlformats.org/officeDocument/2006/relationships/slideLayout" Target="../slideLayouts/slideLayout8.xml"/><Relationship Id="rId16" Type="http://schemas.openxmlformats.org/officeDocument/2006/relationships/tags" Target="../tags/tag70.xml"/><Relationship Id="rId20" Type="http://schemas.openxmlformats.org/officeDocument/2006/relationships/tags" Target="../tags/tag74.xml"/><Relationship Id="rId1" Type="http://schemas.openxmlformats.org/officeDocument/2006/relationships/slideLayout" Target="../slideLayouts/slideLayout7.xml"/><Relationship Id="rId6" Type="http://schemas.openxmlformats.org/officeDocument/2006/relationships/tags" Target="../tags/tag60.xml"/><Relationship Id="rId11" Type="http://schemas.openxmlformats.org/officeDocument/2006/relationships/tags" Target="../tags/tag65.xml"/><Relationship Id="rId5" Type="http://schemas.openxmlformats.org/officeDocument/2006/relationships/tags" Target="../tags/tag59.xml"/><Relationship Id="rId15" Type="http://schemas.openxmlformats.org/officeDocument/2006/relationships/tags" Target="../tags/tag69.xml"/><Relationship Id="rId23" Type="http://schemas.openxmlformats.org/officeDocument/2006/relationships/image" Target="../media/image1.emf"/><Relationship Id="rId10" Type="http://schemas.openxmlformats.org/officeDocument/2006/relationships/tags" Target="../tags/tag64.xml"/><Relationship Id="rId19" Type="http://schemas.openxmlformats.org/officeDocument/2006/relationships/tags" Target="../tags/tag73.xml"/><Relationship Id="rId4" Type="http://schemas.openxmlformats.org/officeDocument/2006/relationships/vmlDrawing" Target="../drawings/vmlDrawing10.vml"/><Relationship Id="rId9" Type="http://schemas.openxmlformats.org/officeDocument/2006/relationships/tags" Target="../tags/tag63.xml"/><Relationship Id="rId14" Type="http://schemas.openxmlformats.org/officeDocument/2006/relationships/tags" Target="../tags/tag68.xml"/><Relationship Id="rId22" Type="http://schemas.openxmlformats.org/officeDocument/2006/relationships/oleObject" Target="../embeddings/oleObject10.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5"/>
            </p:custDataLst>
            <p:extLst>
              <p:ext uri="{D42A27DB-BD31-4B8C-83A1-F6EECF244321}">
                <p14:modId xmlns:p14="http://schemas.microsoft.com/office/powerpoint/2010/main" val="4255072852"/>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138"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0"/>
                        <a:ext cx="215979" cy="161974"/>
                      </a:xfrm>
                      <a:prstGeom prst="rect">
                        <a:avLst/>
                      </a:prstGeom>
                    </p:spPr>
                  </p:pic>
                </p:oleObj>
              </mc:Fallback>
            </mc:AlternateContent>
          </a:graphicData>
        </a:graphic>
      </p:graphicFrame>
      <p:sp>
        <p:nvSpPr>
          <p:cNvPr id="1033" name="doc id"/>
          <p:cNvSpPr>
            <a:spLocks noChangeArrowheads="1"/>
          </p:cNvSpPr>
          <p:nvPr/>
        </p:nvSpPr>
        <p:spPr bwMode="auto">
          <a:xfrm>
            <a:off x="10624749"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rgbClr val="000000"/>
              </a:solidFill>
              <a:latin typeface="+mn-lt"/>
              <a:ea typeface="+mn-ea"/>
            </a:endParaRPr>
          </a:p>
        </p:txBody>
      </p:sp>
      <p:sp>
        <p:nvSpPr>
          <p:cNvPr id="1036" name="Rectangle 286"/>
          <p:cNvSpPr>
            <a:spLocks noGrp="1" noChangeArrowheads="1"/>
          </p:cNvSpPr>
          <p:nvPr>
            <p:ph type="body" idx="1"/>
          </p:nvPr>
        </p:nvSpPr>
        <p:spPr bwMode="auto">
          <a:xfrm>
            <a:off x="3169489" y="2825007"/>
            <a:ext cx="5853024"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508011" y="623131"/>
            <a:ext cx="11188689"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508011" y="290022"/>
            <a:ext cx="6187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508011" y="993244"/>
            <a:ext cx="1118868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3169489" y="2251617"/>
            <a:ext cx="5853024" cy="510219"/>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rgbClr val="808080"/>
                  </a:solidFill>
                  <a:latin typeface="+mn-lt"/>
                  <a:ea typeface="+mn-ea"/>
                </a:rPr>
                <a:t>Unit of measure</a:t>
              </a:r>
            </a:p>
          </p:txBody>
        </p:sp>
      </p:grpSp>
      <p:grpSp>
        <p:nvGrpSpPr>
          <p:cNvPr id="3" name="Slide Elements" hidden="1"/>
          <p:cNvGrpSpPr>
            <a:grpSpLocks/>
          </p:cNvGrpSpPr>
          <p:nvPr userDrawn="1"/>
        </p:nvGrpSpPr>
        <p:grpSpPr bwMode="auto">
          <a:xfrm>
            <a:off x="508011" y="6471314"/>
            <a:ext cx="11188689" cy="300884"/>
            <a:chOff x="172517" y="5852055"/>
            <a:chExt cx="8796540" cy="300884"/>
          </a:xfrm>
        </p:grpSpPr>
        <p:sp>
          <p:nvSpPr>
            <p:cNvPr id="64" name="4. Footnote"/>
            <p:cNvSpPr txBox="1">
              <a:spLocks noChangeArrowheads="1"/>
            </p:cNvSpPr>
            <p:nvPr/>
          </p:nvSpPr>
          <p:spPr bwMode="auto">
            <a:xfrm>
              <a:off x="172517" y="5852055"/>
              <a:ext cx="879654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8900" indent="-88900">
                <a:defRPr/>
              </a:pPr>
              <a:r>
                <a:rPr lang="en-US" sz="800" baseline="0" noProof="0" dirty="0">
                  <a:latin typeface="+mn-lt"/>
                </a:rPr>
                <a:t>1 Footnote</a:t>
              </a:r>
            </a:p>
          </p:txBody>
        </p:sp>
        <p:sp>
          <p:nvSpPr>
            <p:cNvPr id="65" name="5. Source"/>
            <p:cNvSpPr>
              <a:spLocks noChangeArrowheads="1"/>
            </p:cNvSpPr>
            <p:nvPr/>
          </p:nvSpPr>
          <p:spPr bwMode="auto">
            <a:xfrm>
              <a:off x="172517" y="6029828"/>
              <a:ext cx="82520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47663" indent="-347663" defTabSz="895350">
                <a:tabLst>
                  <a:tab pos="346075" algn="l"/>
                </a:tabLst>
              </a:pPr>
              <a:r>
                <a:rPr lang="en-US" sz="800" baseline="0" noProof="0" dirty="0">
                  <a:solidFill>
                    <a:schemeClr val="tx1"/>
                  </a:solidFill>
                  <a:latin typeface="+mn-lt"/>
                </a:rPr>
                <a:t>Source: Source</a:t>
              </a:r>
            </a:p>
          </p:txBody>
        </p:sp>
      </p:grpSp>
      <p:sp>
        <p:nvSpPr>
          <p:cNvPr id="66" name="Slide Number"/>
          <p:cNvSpPr txBox="1">
            <a:spLocks/>
          </p:cNvSpPr>
          <p:nvPr userDrawn="1"/>
        </p:nvSpPr>
        <p:spPr bwMode="auto">
          <a:xfrm>
            <a:off x="11566856" y="6649088"/>
            <a:ext cx="12984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pPr lvl="0" algn="r"/>
              <a:t>‹#›</a:t>
            </a:fld>
            <a:endParaRPr lang="en-US" sz="800" dirty="0"/>
          </a:p>
        </p:txBody>
      </p:sp>
      <p:sp>
        <p:nvSpPr>
          <p:cNvPr id="74" name="Rectangle 73" descr="&lt;Shell Yellow Bar&gt;" title="&lt;Shell Yellow Bar&gt;"/>
          <p:cNvSpPr/>
          <p:nvPr userDrawn="1"/>
        </p:nvSpPr>
        <p:spPr bwMode="auto">
          <a:xfrm>
            <a:off x="508011"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nvGrpSpPr>
          <p:cNvPr id="93" name="LegendBoxes" hidden="1"/>
          <p:cNvGrpSpPr/>
          <p:nvPr userDrawn="1"/>
        </p:nvGrpSpPr>
        <p:grpSpPr bwMode="auto">
          <a:xfrm>
            <a:off x="10982638" y="674085"/>
            <a:ext cx="714062" cy="997467"/>
            <a:chOff x="7835905" y="279400"/>
            <a:chExt cx="714062" cy="997467"/>
          </a:xfrm>
        </p:grpSpPr>
        <p:sp>
          <p:nvSpPr>
            <p:cNvPr id="94"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5"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6"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7"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8" name="Legend1"/>
            <p:cNvSpPr>
              <a:spLocks noChangeArrowheads="1"/>
            </p:cNvSpPr>
            <p:nvPr/>
          </p:nvSpPr>
          <p:spPr bwMode="auto">
            <a:xfrm>
              <a:off x="8089905"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99" name="Legend2"/>
            <p:cNvSpPr>
              <a:spLocks noChangeArrowheads="1"/>
            </p:cNvSpPr>
            <p:nvPr/>
          </p:nvSpPr>
          <p:spPr bwMode="auto">
            <a:xfrm>
              <a:off x="8089905" y="54927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0" name="Legend3"/>
            <p:cNvSpPr>
              <a:spLocks noChangeArrowheads="1"/>
            </p:cNvSpPr>
            <p:nvPr/>
          </p:nvSpPr>
          <p:spPr bwMode="auto">
            <a:xfrm>
              <a:off x="8089905" y="820738"/>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1" name="Legend4"/>
            <p:cNvSpPr>
              <a:spLocks noChangeArrowheads="1"/>
            </p:cNvSpPr>
            <p:nvPr/>
          </p:nvSpPr>
          <p:spPr bwMode="auto">
            <a:xfrm>
              <a:off x="8089905" y="10922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2" name="LegendLines" hidden="1"/>
          <p:cNvGrpSpPr/>
          <p:nvPr userDrawn="1"/>
        </p:nvGrpSpPr>
        <p:grpSpPr bwMode="auto">
          <a:xfrm>
            <a:off x="10674663" y="674085"/>
            <a:ext cx="1022037" cy="730767"/>
            <a:chOff x="7540629" y="279400"/>
            <a:chExt cx="1022037" cy="730767"/>
          </a:xfrm>
        </p:grpSpPr>
        <p:sp>
          <p:nvSpPr>
            <p:cNvPr id="103"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4"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5"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6" name="Legend1"/>
            <p:cNvSpPr>
              <a:spLocks noChangeArrowheads="1"/>
            </p:cNvSpPr>
            <p:nvPr/>
          </p:nvSpPr>
          <p:spPr bwMode="auto">
            <a:xfrm>
              <a:off x="8102604"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7" name="Legend2"/>
            <p:cNvSpPr>
              <a:spLocks noChangeArrowheads="1"/>
            </p:cNvSpPr>
            <p:nvPr/>
          </p:nvSpPr>
          <p:spPr bwMode="auto">
            <a:xfrm>
              <a:off x="8102604" y="5461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8" name="Legend3"/>
            <p:cNvSpPr>
              <a:spLocks noChangeArrowheads="1"/>
            </p:cNvSpPr>
            <p:nvPr/>
          </p:nvSpPr>
          <p:spPr bwMode="auto">
            <a:xfrm>
              <a:off x="8102604" y="8255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9" name="LegendMoons" hidden="1"/>
          <p:cNvGrpSpPr/>
          <p:nvPr userDrawn="1"/>
        </p:nvGrpSpPr>
        <p:grpSpPr bwMode="auto">
          <a:xfrm>
            <a:off x="10915963" y="674085"/>
            <a:ext cx="780737" cy="1306516"/>
            <a:chOff x="7769225" y="250825"/>
            <a:chExt cx="780737" cy="1306516"/>
          </a:xfrm>
        </p:grpSpPr>
        <p:grpSp>
          <p:nvGrpSpPr>
            <p:cNvPr id="110" name="MoonLegend1"/>
            <p:cNvGrpSpPr>
              <a:grpSpLocks noChangeAspect="1"/>
            </p:cNvGrpSpPr>
            <p:nvPr>
              <p:custDataLst>
                <p:tags r:id="rId7"/>
              </p:custDataLst>
            </p:nvPr>
          </p:nvGrpSpPr>
          <p:grpSpPr bwMode="auto">
            <a:xfrm>
              <a:off x="7769225" y="250825"/>
              <a:ext cx="209550" cy="209551"/>
              <a:chOff x="4533" y="183"/>
              <a:chExt cx="144" cy="144"/>
            </a:xfrm>
          </p:grpSpPr>
          <p:sp>
            <p:nvSpPr>
              <p:cNvPr id="128"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9"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1" name="MoonLegend2"/>
            <p:cNvGrpSpPr>
              <a:grpSpLocks noChangeAspect="1"/>
            </p:cNvGrpSpPr>
            <p:nvPr>
              <p:custDataLst>
                <p:tags r:id="rId8"/>
              </p:custDataLst>
            </p:nvPr>
          </p:nvGrpSpPr>
          <p:grpSpPr bwMode="auto">
            <a:xfrm>
              <a:off x="7769225" y="525066"/>
              <a:ext cx="209550" cy="209551"/>
              <a:chOff x="1694" y="2044"/>
              <a:chExt cx="160" cy="160"/>
            </a:xfrm>
          </p:grpSpPr>
          <p:sp>
            <p:nvSpPr>
              <p:cNvPr id="126"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7" name="Arc 42"/>
              <p:cNvSpPr>
                <a:spLocks noChangeAspect="1"/>
              </p:cNvSpPr>
              <p:nvPr>
                <p:custDataLst>
                  <p:tags r:id="rId19"/>
                </p:custDataLst>
              </p:nvPr>
            </p:nvSpPr>
            <p:spPr bwMode="auto">
              <a:xfrm>
                <a:off x="1694" y="2044"/>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2" name="MoonLegend4"/>
            <p:cNvGrpSpPr>
              <a:grpSpLocks noChangeAspect="1"/>
            </p:cNvGrpSpPr>
            <p:nvPr>
              <p:custDataLst>
                <p:tags r:id="rId9"/>
              </p:custDataLst>
            </p:nvPr>
          </p:nvGrpSpPr>
          <p:grpSpPr bwMode="auto">
            <a:xfrm>
              <a:off x="7769225" y="1073548"/>
              <a:ext cx="209550" cy="209551"/>
              <a:chOff x="4495" y="1198"/>
              <a:chExt cx="160" cy="160"/>
            </a:xfrm>
          </p:grpSpPr>
          <p:sp>
            <p:nvSpPr>
              <p:cNvPr id="12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5"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3" name="MoonLegend5"/>
            <p:cNvGrpSpPr>
              <a:grpSpLocks noChangeAspect="1"/>
            </p:cNvGrpSpPr>
            <p:nvPr>
              <p:custDataLst>
                <p:tags r:id="rId10"/>
              </p:custDataLst>
            </p:nvPr>
          </p:nvGrpSpPr>
          <p:grpSpPr bwMode="auto">
            <a:xfrm>
              <a:off x="7769225" y="1347790"/>
              <a:ext cx="209550" cy="209551"/>
              <a:chOff x="4495" y="1440"/>
              <a:chExt cx="160" cy="160"/>
            </a:xfrm>
          </p:grpSpPr>
          <p:sp>
            <p:nvSpPr>
              <p:cNvPr id="122"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3"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4" name="MoonLegend3"/>
            <p:cNvGrpSpPr>
              <a:grpSpLocks noChangeAspect="1"/>
            </p:cNvGrpSpPr>
            <p:nvPr>
              <p:custDataLst>
                <p:tags r:id="rId11"/>
              </p:custDataLst>
            </p:nvPr>
          </p:nvGrpSpPr>
          <p:grpSpPr bwMode="auto">
            <a:xfrm>
              <a:off x="7769225" y="799307"/>
              <a:ext cx="209550" cy="209551"/>
              <a:chOff x="4495" y="1198"/>
              <a:chExt cx="160" cy="160"/>
            </a:xfrm>
          </p:grpSpPr>
          <p:sp>
            <p:nvSpPr>
              <p:cNvPr id="120"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1"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sp>
          <p:nvSpPr>
            <p:cNvPr id="115" name="Legend1"/>
            <p:cNvSpPr>
              <a:spLocks noChangeArrowheads="1"/>
            </p:cNvSpPr>
            <p:nvPr/>
          </p:nvSpPr>
          <p:spPr bwMode="auto">
            <a:xfrm>
              <a:off x="8089900" y="26352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6" name="Legend2"/>
            <p:cNvSpPr>
              <a:spLocks noChangeArrowheads="1"/>
            </p:cNvSpPr>
            <p:nvPr/>
          </p:nvSpPr>
          <p:spPr bwMode="auto">
            <a:xfrm>
              <a:off x="8089900" y="538163"/>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7" name="Legend3"/>
            <p:cNvSpPr>
              <a:spLocks noChangeArrowheads="1"/>
            </p:cNvSpPr>
            <p:nvPr/>
          </p:nvSpPr>
          <p:spPr bwMode="auto">
            <a:xfrm>
              <a:off x="8089900" y="812802"/>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8" name="Legend4"/>
            <p:cNvSpPr>
              <a:spLocks noChangeArrowheads="1"/>
            </p:cNvSpPr>
            <p:nvPr/>
          </p:nvSpPr>
          <p:spPr bwMode="auto">
            <a:xfrm>
              <a:off x="8089900" y="108426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9" name="Legend5"/>
            <p:cNvSpPr>
              <a:spLocks noChangeArrowheads="1"/>
            </p:cNvSpPr>
            <p:nvPr/>
          </p:nvSpPr>
          <p:spPr bwMode="auto">
            <a:xfrm>
              <a:off x="8089900" y="136049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75" name="McKSticker" hidden="1"/>
          <p:cNvGrpSpPr/>
          <p:nvPr userDrawn="1"/>
        </p:nvGrpSpPr>
        <p:grpSpPr bwMode="auto">
          <a:xfrm>
            <a:off x="11306721" y="739932"/>
            <a:ext cx="389979" cy="150811"/>
            <a:chOff x="8350796" y="285750"/>
            <a:chExt cx="389979" cy="150811"/>
          </a:xfrm>
        </p:grpSpPr>
        <p:sp>
          <p:nvSpPr>
            <p:cNvPr id="76" name="StickerRectangle"/>
            <p:cNvSpPr>
              <a:spLocks noChangeArrowheads="1"/>
            </p:cNvSpPr>
            <p:nvPr/>
          </p:nvSpPr>
          <p:spPr bwMode="auto">
            <a:xfrm>
              <a:off x="8350796" y="285750"/>
              <a:ext cx="389979"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GB" sz="800" baseline="0" dirty="0">
                  <a:solidFill>
                    <a:schemeClr val="accent6"/>
                  </a:solidFill>
                  <a:latin typeface="+mn-lt"/>
                  <a:ea typeface="+mn-ea"/>
                </a:rPr>
                <a:t>STICKER</a:t>
              </a:r>
            </a:p>
          </p:txBody>
        </p:sp>
        <p:cxnSp>
          <p:nvCxnSpPr>
            <p:cNvPr id="77" name="AutoShape 31"/>
            <p:cNvCxnSpPr>
              <a:cxnSpLocks noChangeShapeType="1"/>
              <a:stCxn id="76" idx="2"/>
              <a:endCxn id="76" idx="4"/>
            </p:cNvCxnSpPr>
            <p:nvPr/>
          </p:nvCxnSpPr>
          <p:spPr bwMode="auto">
            <a:xfrm>
              <a:off x="8350796"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92" name="AutoShape 32"/>
            <p:cNvCxnSpPr>
              <a:cxnSpLocks noChangeShapeType="1"/>
              <a:stCxn id="76" idx="4"/>
              <a:endCxn id="76" idx="6"/>
            </p:cNvCxnSpPr>
            <p:nvPr/>
          </p:nvCxnSpPr>
          <p:spPr bwMode="auto">
            <a:xfrm>
              <a:off x="8350796" y="436561"/>
              <a:ext cx="389979"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30" name="Moon" hidden="1"/>
          <p:cNvGrpSpPr/>
          <p:nvPr userDrawn="1">
            <p:custDataLst>
              <p:tags r:id="rId6"/>
            </p:custDataLst>
          </p:nvPr>
        </p:nvGrpSpPr>
        <p:grpSpPr bwMode="auto">
          <a:xfrm>
            <a:off x="10200968" y="1404852"/>
            <a:ext cx="254000" cy="254000"/>
            <a:chOff x="762000" y="1270000"/>
            <a:chExt cx="254000" cy="254000"/>
          </a:xfrm>
        </p:grpSpPr>
        <p:sp>
          <p:nvSpPr>
            <p:cNvPr id="131" name="Oval 130"/>
            <p:cNvSpPr/>
            <p:nvPr/>
          </p:nvSpPr>
          <p:spPr bwMode="auto">
            <a:xfrm>
              <a:off x="762000" y="1270000"/>
              <a:ext cx="254000" cy="254000"/>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32" name="Arc 131"/>
            <p:cNvSpPr/>
            <p:nvPr/>
          </p:nvSpPr>
          <p:spPr bwMode="auto">
            <a:xfrm>
              <a:off x="762000" y="1270000"/>
              <a:ext cx="254000" cy="254000"/>
            </a:xfrm>
            <a:prstGeom prst="arc">
              <a:avLst/>
            </a:prstGeom>
            <a:solidFill>
              <a:schemeClr val="accent2"/>
            </a:solidFill>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668939034"/>
      </p:ext>
    </p:extLst>
  </p:cSld>
  <p:clrMap bg1="lt1" tx1="dk1" bg2="lt2" tx2="dk2" accent1="accent1" accent2="accent2" accent3="accent3" accent4="accent4" accent5="accent5" accent6="accent6" hlink="hlink" folHlink="folHlink"/>
  <p:sldLayoutIdLst>
    <p:sldLayoutId id="2147483661" r:id="rId1"/>
    <p:sldLayoutId id="2147483662" r:id="rId2"/>
  </p:sldLayoutIdLst>
  <p:hf hdr="0" ftr="0" dt="0"/>
  <p:txStyles>
    <p:titleStyle>
      <a:lvl1pPr algn="l" defTabSz="913526" rtl="0" eaLnBrk="1" fontAlgn="base" hangingPunct="1">
        <a:spcBef>
          <a:spcPct val="0"/>
        </a:spcBef>
        <a:spcAft>
          <a:spcPct val="0"/>
        </a:spcAft>
        <a:tabLst>
          <a:tab pos="275353" algn="l"/>
        </a:tabLst>
        <a:defRPr sz="2200" b="1" baseline="0">
          <a:solidFill>
            <a:schemeClr val="tx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2">
          <p15:clr>
            <a:srgbClr val="F26B43"/>
          </p15:clr>
        </p15:guide>
        <p15:guide id="2" pos="312">
          <p15:clr>
            <a:srgbClr val="F26B43"/>
          </p15:clr>
        </p15:guide>
        <p15:guide id="3" pos="7368">
          <p15:clr>
            <a:srgbClr val="F26B43"/>
          </p15:clr>
        </p15:guide>
        <p15:guide id="4" orient="horz" pos="424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5"/>
            </p:custDataLst>
            <p:extLst>
              <p:ext uri="{D42A27DB-BD31-4B8C-83A1-F6EECF244321}">
                <p14:modId xmlns:p14="http://schemas.microsoft.com/office/powerpoint/2010/main" val="3570642301"/>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4192"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0"/>
                        <a:ext cx="215979" cy="161974"/>
                      </a:xfrm>
                      <a:prstGeom prst="rect">
                        <a:avLst/>
                      </a:prstGeom>
                    </p:spPr>
                  </p:pic>
                </p:oleObj>
              </mc:Fallback>
            </mc:AlternateContent>
          </a:graphicData>
        </a:graphic>
      </p:graphicFrame>
      <p:sp>
        <p:nvSpPr>
          <p:cNvPr id="1033" name="doc id"/>
          <p:cNvSpPr>
            <a:spLocks noChangeArrowheads="1"/>
          </p:cNvSpPr>
          <p:nvPr/>
        </p:nvSpPr>
        <p:spPr bwMode="auto">
          <a:xfrm>
            <a:off x="10624749"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rgbClr val="000000"/>
              </a:solidFill>
              <a:latin typeface="+mn-lt"/>
              <a:ea typeface="+mn-ea"/>
            </a:endParaRPr>
          </a:p>
        </p:txBody>
      </p:sp>
      <p:sp>
        <p:nvSpPr>
          <p:cNvPr id="1036" name="Rectangle 286"/>
          <p:cNvSpPr>
            <a:spLocks noGrp="1" noChangeArrowheads="1"/>
          </p:cNvSpPr>
          <p:nvPr>
            <p:ph type="body" idx="1"/>
          </p:nvPr>
        </p:nvSpPr>
        <p:spPr bwMode="auto">
          <a:xfrm>
            <a:off x="3169489" y="2825007"/>
            <a:ext cx="5853024"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508011" y="623131"/>
            <a:ext cx="11188689"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508011" y="290022"/>
            <a:ext cx="6187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508011" y="993244"/>
            <a:ext cx="1118868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3169489" y="2251617"/>
            <a:ext cx="5853024" cy="510219"/>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rgbClr val="808080"/>
                  </a:solidFill>
                  <a:latin typeface="+mn-lt"/>
                  <a:ea typeface="+mn-ea"/>
                </a:rPr>
                <a:t>Unit of measure</a:t>
              </a:r>
            </a:p>
          </p:txBody>
        </p:sp>
      </p:grpSp>
      <p:grpSp>
        <p:nvGrpSpPr>
          <p:cNvPr id="3" name="Slide Elements" hidden="1"/>
          <p:cNvGrpSpPr>
            <a:grpSpLocks/>
          </p:cNvGrpSpPr>
          <p:nvPr userDrawn="1"/>
        </p:nvGrpSpPr>
        <p:grpSpPr bwMode="auto">
          <a:xfrm>
            <a:off x="508011" y="6471314"/>
            <a:ext cx="11188689" cy="300884"/>
            <a:chOff x="172517" y="5852055"/>
            <a:chExt cx="8796540" cy="300884"/>
          </a:xfrm>
        </p:grpSpPr>
        <p:sp>
          <p:nvSpPr>
            <p:cNvPr id="64" name="4. Footnote"/>
            <p:cNvSpPr txBox="1">
              <a:spLocks noChangeArrowheads="1"/>
            </p:cNvSpPr>
            <p:nvPr/>
          </p:nvSpPr>
          <p:spPr bwMode="auto">
            <a:xfrm>
              <a:off x="172517" y="5852055"/>
              <a:ext cx="879654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8900" indent="-88900">
                <a:defRPr/>
              </a:pPr>
              <a:r>
                <a:rPr lang="en-US" sz="800" baseline="0" noProof="0" dirty="0">
                  <a:latin typeface="+mn-lt"/>
                </a:rPr>
                <a:t>1 Footnote</a:t>
              </a:r>
            </a:p>
          </p:txBody>
        </p:sp>
        <p:sp>
          <p:nvSpPr>
            <p:cNvPr id="65" name="5. Source"/>
            <p:cNvSpPr>
              <a:spLocks noChangeArrowheads="1"/>
            </p:cNvSpPr>
            <p:nvPr/>
          </p:nvSpPr>
          <p:spPr bwMode="auto">
            <a:xfrm>
              <a:off x="172517" y="6029828"/>
              <a:ext cx="82520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47663" indent="-347663" defTabSz="895350">
                <a:tabLst>
                  <a:tab pos="346075" algn="l"/>
                </a:tabLst>
              </a:pPr>
              <a:r>
                <a:rPr lang="en-US" sz="800" baseline="0" noProof="0" dirty="0">
                  <a:solidFill>
                    <a:schemeClr val="tx1"/>
                  </a:solidFill>
                  <a:latin typeface="+mn-lt"/>
                </a:rPr>
                <a:t>Source: Source</a:t>
              </a:r>
            </a:p>
          </p:txBody>
        </p:sp>
      </p:grpSp>
      <p:sp>
        <p:nvSpPr>
          <p:cNvPr id="66" name="Slide Number"/>
          <p:cNvSpPr txBox="1">
            <a:spLocks/>
          </p:cNvSpPr>
          <p:nvPr userDrawn="1"/>
        </p:nvSpPr>
        <p:spPr bwMode="auto">
          <a:xfrm>
            <a:off x="11566856" y="6649088"/>
            <a:ext cx="12984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pPr lvl="0" algn="r"/>
              <a:t>‹#›</a:t>
            </a:fld>
            <a:endParaRPr lang="en-US" sz="800" dirty="0"/>
          </a:p>
        </p:txBody>
      </p:sp>
      <p:sp>
        <p:nvSpPr>
          <p:cNvPr id="74" name="Rectangle 73" descr="&lt;Shell Yellow Bar&gt;" title="&lt;Shell Yellow Bar&gt;"/>
          <p:cNvSpPr/>
          <p:nvPr userDrawn="1"/>
        </p:nvSpPr>
        <p:spPr bwMode="auto">
          <a:xfrm>
            <a:off x="508011"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nvGrpSpPr>
          <p:cNvPr id="93" name="LegendBoxes" hidden="1"/>
          <p:cNvGrpSpPr/>
          <p:nvPr userDrawn="1"/>
        </p:nvGrpSpPr>
        <p:grpSpPr bwMode="auto">
          <a:xfrm>
            <a:off x="10982638" y="674085"/>
            <a:ext cx="714062" cy="997467"/>
            <a:chOff x="7835905" y="279400"/>
            <a:chExt cx="714062" cy="997467"/>
          </a:xfrm>
        </p:grpSpPr>
        <p:sp>
          <p:nvSpPr>
            <p:cNvPr id="94"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5"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6"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7"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8" name="Legend1"/>
            <p:cNvSpPr>
              <a:spLocks noChangeArrowheads="1"/>
            </p:cNvSpPr>
            <p:nvPr/>
          </p:nvSpPr>
          <p:spPr bwMode="auto">
            <a:xfrm>
              <a:off x="8089905"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99" name="Legend2"/>
            <p:cNvSpPr>
              <a:spLocks noChangeArrowheads="1"/>
            </p:cNvSpPr>
            <p:nvPr/>
          </p:nvSpPr>
          <p:spPr bwMode="auto">
            <a:xfrm>
              <a:off x="8089905" y="54927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0" name="Legend3"/>
            <p:cNvSpPr>
              <a:spLocks noChangeArrowheads="1"/>
            </p:cNvSpPr>
            <p:nvPr/>
          </p:nvSpPr>
          <p:spPr bwMode="auto">
            <a:xfrm>
              <a:off x="8089905" y="820738"/>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1" name="Legend4"/>
            <p:cNvSpPr>
              <a:spLocks noChangeArrowheads="1"/>
            </p:cNvSpPr>
            <p:nvPr/>
          </p:nvSpPr>
          <p:spPr bwMode="auto">
            <a:xfrm>
              <a:off x="8089905" y="10922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2" name="LegendLines" hidden="1"/>
          <p:cNvGrpSpPr/>
          <p:nvPr userDrawn="1"/>
        </p:nvGrpSpPr>
        <p:grpSpPr bwMode="auto">
          <a:xfrm>
            <a:off x="10674663" y="674085"/>
            <a:ext cx="1022037" cy="730767"/>
            <a:chOff x="7540629" y="279400"/>
            <a:chExt cx="1022037" cy="730767"/>
          </a:xfrm>
        </p:grpSpPr>
        <p:sp>
          <p:nvSpPr>
            <p:cNvPr id="103"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4"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5"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6" name="Legend1"/>
            <p:cNvSpPr>
              <a:spLocks noChangeArrowheads="1"/>
            </p:cNvSpPr>
            <p:nvPr/>
          </p:nvSpPr>
          <p:spPr bwMode="auto">
            <a:xfrm>
              <a:off x="8102604"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7" name="Legend2"/>
            <p:cNvSpPr>
              <a:spLocks noChangeArrowheads="1"/>
            </p:cNvSpPr>
            <p:nvPr/>
          </p:nvSpPr>
          <p:spPr bwMode="auto">
            <a:xfrm>
              <a:off x="8102604" y="5461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8" name="Legend3"/>
            <p:cNvSpPr>
              <a:spLocks noChangeArrowheads="1"/>
            </p:cNvSpPr>
            <p:nvPr/>
          </p:nvSpPr>
          <p:spPr bwMode="auto">
            <a:xfrm>
              <a:off x="8102604" y="8255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9" name="LegendMoons" hidden="1"/>
          <p:cNvGrpSpPr/>
          <p:nvPr userDrawn="1"/>
        </p:nvGrpSpPr>
        <p:grpSpPr bwMode="auto">
          <a:xfrm>
            <a:off x="10915963" y="674085"/>
            <a:ext cx="780737" cy="1306516"/>
            <a:chOff x="7769225" y="250825"/>
            <a:chExt cx="780737" cy="1306516"/>
          </a:xfrm>
        </p:grpSpPr>
        <p:grpSp>
          <p:nvGrpSpPr>
            <p:cNvPr id="110" name="MoonLegend1"/>
            <p:cNvGrpSpPr>
              <a:grpSpLocks noChangeAspect="1"/>
            </p:cNvGrpSpPr>
            <p:nvPr>
              <p:custDataLst>
                <p:tags r:id="rId7"/>
              </p:custDataLst>
            </p:nvPr>
          </p:nvGrpSpPr>
          <p:grpSpPr bwMode="auto">
            <a:xfrm>
              <a:off x="7769225" y="250825"/>
              <a:ext cx="209550" cy="209551"/>
              <a:chOff x="4533" y="183"/>
              <a:chExt cx="144" cy="144"/>
            </a:xfrm>
          </p:grpSpPr>
          <p:sp>
            <p:nvSpPr>
              <p:cNvPr id="128"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9"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1" name="MoonLegend2"/>
            <p:cNvGrpSpPr>
              <a:grpSpLocks noChangeAspect="1"/>
            </p:cNvGrpSpPr>
            <p:nvPr>
              <p:custDataLst>
                <p:tags r:id="rId8"/>
              </p:custDataLst>
            </p:nvPr>
          </p:nvGrpSpPr>
          <p:grpSpPr bwMode="auto">
            <a:xfrm>
              <a:off x="7769225" y="525066"/>
              <a:ext cx="209550" cy="209551"/>
              <a:chOff x="1694" y="2044"/>
              <a:chExt cx="160" cy="160"/>
            </a:xfrm>
          </p:grpSpPr>
          <p:sp>
            <p:nvSpPr>
              <p:cNvPr id="126"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7" name="Arc 42"/>
              <p:cNvSpPr>
                <a:spLocks noChangeAspect="1"/>
              </p:cNvSpPr>
              <p:nvPr>
                <p:custDataLst>
                  <p:tags r:id="rId19"/>
                </p:custDataLst>
              </p:nvPr>
            </p:nvSpPr>
            <p:spPr bwMode="auto">
              <a:xfrm>
                <a:off x="1694" y="2044"/>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2" name="MoonLegend4"/>
            <p:cNvGrpSpPr>
              <a:grpSpLocks noChangeAspect="1"/>
            </p:cNvGrpSpPr>
            <p:nvPr>
              <p:custDataLst>
                <p:tags r:id="rId9"/>
              </p:custDataLst>
            </p:nvPr>
          </p:nvGrpSpPr>
          <p:grpSpPr bwMode="auto">
            <a:xfrm>
              <a:off x="7769225" y="1073548"/>
              <a:ext cx="209550" cy="209551"/>
              <a:chOff x="4495" y="1198"/>
              <a:chExt cx="160" cy="160"/>
            </a:xfrm>
          </p:grpSpPr>
          <p:sp>
            <p:nvSpPr>
              <p:cNvPr id="12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5"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3" name="MoonLegend5"/>
            <p:cNvGrpSpPr>
              <a:grpSpLocks noChangeAspect="1"/>
            </p:cNvGrpSpPr>
            <p:nvPr>
              <p:custDataLst>
                <p:tags r:id="rId10"/>
              </p:custDataLst>
            </p:nvPr>
          </p:nvGrpSpPr>
          <p:grpSpPr bwMode="auto">
            <a:xfrm>
              <a:off x="7769225" y="1347790"/>
              <a:ext cx="209550" cy="209551"/>
              <a:chOff x="4495" y="1440"/>
              <a:chExt cx="160" cy="160"/>
            </a:xfrm>
          </p:grpSpPr>
          <p:sp>
            <p:nvSpPr>
              <p:cNvPr id="122"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3"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4" name="MoonLegend3"/>
            <p:cNvGrpSpPr>
              <a:grpSpLocks noChangeAspect="1"/>
            </p:cNvGrpSpPr>
            <p:nvPr>
              <p:custDataLst>
                <p:tags r:id="rId11"/>
              </p:custDataLst>
            </p:nvPr>
          </p:nvGrpSpPr>
          <p:grpSpPr bwMode="auto">
            <a:xfrm>
              <a:off x="7769225" y="799307"/>
              <a:ext cx="209550" cy="209551"/>
              <a:chOff x="4495" y="1198"/>
              <a:chExt cx="160" cy="160"/>
            </a:xfrm>
          </p:grpSpPr>
          <p:sp>
            <p:nvSpPr>
              <p:cNvPr id="120"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1"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sp>
          <p:nvSpPr>
            <p:cNvPr id="115" name="Legend1"/>
            <p:cNvSpPr>
              <a:spLocks noChangeArrowheads="1"/>
            </p:cNvSpPr>
            <p:nvPr/>
          </p:nvSpPr>
          <p:spPr bwMode="auto">
            <a:xfrm>
              <a:off x="8089900" y="26352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6" name="Legend2"/>
            <p:cNvSpPr>
              <a:spLocks noChangeArrowheads="1"/>
            </p:cNvSpPr>
            <p:nvPr/>
          </p:nvSpPr>
          <p:spPr bwMode="auto">
            <a:xfrm>
              <a:off x="8089900" y="538163"/>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7" name="Legend3"/>
            <p:cNvSpPr>
              <a:spLocks noChangeArrowheads="1"/>
            </p:cNvSpPr>
            <p:nvPr/>
          </p:nvSpPr>
          <p:spPr bwMode="auto">
            <a:xfrm>
              <a:off x="8089900" y="812802"/>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8" name="Legend4"/>
            <p:cNvSpPr>
              <a:spLocks noChangeArrowheads="1"/>
            </p:cNvSpPr>
            <p:nvPr/>
          </p:nvSpPr>
          <p:spPr bwMode="auto">
            <a:xfrm>
              <a:off x="8089900" y="108426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9" name="Legend5"/>
            <p:cNvSpPr>
              <a:spLocks noChangeArrowheads="1"/>
            </p:cNvSpPr>
            <p:nvPr/>
          </p:nvSpPr>
          <p:spPr bwMode="auto">
            <a:xfrm>
              <a:off x="8089900" y="136049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75" name="McKSticker" hidden="1"/>
          <p:cNvGrpSpPr/>
          <p:nvPr userDrawn="1"/>
        </p:nvGrpSpPr>
        <p:grpSpPr bwMode="auto">
          <a:xfrm>
            <a:off x="11306721" y="739932"/>
            <a:ext cx="389979" cy="150811"/>
            <a:chOff x="8350796" y="285750"/>
            <a:chExt cx="389979" cy="150811"/>
          </a:xfrm>
        </p:grpSpPr>
        <p:sp>
          <p:nvSpPr>
            <p:cNvPr id="76" name="StickerRectangle"/>
            <p:cNvSpPr>
              <a:spLocks noChangeArrowheads="1"/>
            </p:cNvSpPr>
            <p:nvPr/>
          </p:nvSpPr>
          <p:spPr bwMode="auto">
            <a:xfrm>
              <a:off x="8350796" y="285750"/>
              <a:ext cx="389979"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GB" sz="800" baseline="0" dirty="0">
                  <a:solidFill>
                    <a:schemeClr val="accent6"/>
                  </a:solidFill>
                  <a:latin typeface="+mn-lt"/>
                  <a:ea typeface="+mn-ea"/>
                </a:rPr>
                <a:t>STICKER</a:t>
              </a:r>
            </a:p>
          </p:txBody>
        </p:sp>
        <p:cxnSp>
          <p:nvCxnSpPr>
            <p:cNvPr id="77" name="AutoShape 31"/>
            <p:cNvCxnSpPr>
              <a:cxnSpLocks noChangeShapeType="1"/>
              <a:stCxn id="76" idx="2"/>
              <a:endCxn id="76" idx="4"/>
            </p:cNvCxnSpPr>
            <p:nvPr/>
          </p:nvCxnSpPr>
          <p:spPr bwMode="auto">
            <a:xfrm>
              <a:off x="8350796"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92" name="AutoShape 32"/>
            <p:cNvCxnSpPr>
              <a:cxnSpLocks noChangeShapeType="1"/>
              <a:stCxn id="76" idx="4"/>
              <a:endCxn id="76" idx="6"/>
            </p:cNvCxnSpPr>
            <p:nvPr/>
          </p:nvCxnSpPr>
          <p:spPr bwMode="auto">
            <a:xfrm>
              <a:off x="8350796" y="436561"/>
              <a:ext cx="389979"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30" name="Moon" hidden="1"/>
          <p:cNvGrpSpPr/>
          <p:nvPr userDrawn="1">
            <p:custDataLst>
              <p:tags r:id="rId6"/>
            </p:custDataLst>
          </p:nvPr>
        </p:nvGrpSpPr>
        <p:grpSpPr bwMode="auto">
          <a:xfrm>
            <a:off x="10200968" y="1404852"/>
            <a:ext cx="254000" cy="254000"/>
            <a:chOff x="762000" y="1270000"/>
            <a:chExt cx="254000" cy="254000"/>
          </a:xfrm>
        </p:grpSpPr>
        <p:sp>
          <p:nvSpPr>
            <p:cNvPr id="131" name="Oval 130"/>
            <p:cNvSpPr/>
            <p:nvPr/>
          </p:nvSpPr>
          <p:spPr bwMode="auto">
            <a:xfrm>
              <a:off x="762000" y="1270000"/>
              <a:ext cx="254000" cy="254000"/>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32" name="Arc 131"/>
            <p:cNvSpPr/>
            <p:nvPr/>
          </p:nvSpPr>
          <p:spPr bwMode="auto">
            <a:xfrm>
              <a:off x="762000" y="1270000"/>
              <a:ext cx="254000" cy="254000"/>
            </a:xfrm>
            <a:prstGeom prst="arc">
              <a:avLst/>
            </a:prstGeom>
            <a:solidFill>
              <a:schemeClr val="accent2"/>
            </a:solidFill>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2360515219"/>
      </p:ext>
    </p:extLst>
  </p:cSld>
  <p:clrMap bg1="lt1" tx1="dk1" bg2="lt2" tx2="dk2" accent1="accent1" accent2="accent2" accent3="accent3" accent4="accent4" accent5="accent5" accent6="accent6" hlink="hlink" folHlink="folHlink"/>
  <p:sldLayoutIdLst>
    <p:sldLayoutId id="2147483664" r:id="rId1"/>
    <p:sldLayoutId id="2147483665" r:id="rId2"/>
  </p:sldLayoutIdLst>
  <p:hf hdr="0" ftr="0" dt="0"/>
  <p:txStyles>
    <p:titleStyle>
      <a:lvl1pPr algn="l" defTabSz="913526" rtl="0" eaLnBrk="1" fontAlgn="base" hangingPunct="1">
        <a:spcBef>
          <a:spcPct val="0"/>
        </a:spcBef>
        <a:spcAft>
          <a:spcPct val="0"/>
        </a:spcAft>
        <a:tabLst>
          <a:tab pos="275353" algn="l"/>
        </a:tabLst>
        <a:defRPr sz="2200" b="1" baseline="0">
          <a:solidFill>
            <a:schemeClr val="tx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2">
          <p15:clr>
            <a:srgbClr val="F26B43"/>
          </p15:clr>
        </p15:guide>
        <p15:guide id="2" pos="312">
          <p15:clr>
            <a:srgbClr val="F26B43"/>
          </p15:clr>
        </p15:guide>
        <p15:guide id="3" pos="7368">
          <p15:clr>
            <a:srgbClr val="F26B43"/>
          </p15:clr>
        </p15:guide>
        <p15:guide id="4" orient="horz" pos="424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5"/>
            </p:custDataLst>
            <p:extLst>
              <p:ext uri="{D42A27DB-BD31-4B8C-83A1-F6EECF244321}">
                <p14:modId xmlns:p14="http://schemas.microsoft.com/office/powerpoint/2010/main" val="2491196295"/>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32774"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0"/>
                        <a:ext cx="215979" cy="161974"/>
                      </a:xfrm>
                      <a:prstGeom prst="rect">
                        <a:avLst/>
                      </a:prstGeom>
                    </p:spPr>
                  </p:pic>
                </p:oleObj>
              </mc:Fallback>
            </mc:AlternateContent>
          </a:graphicData>
        </a:graphic>
      </p:graphicFrame>
      <p:sp>
        <p:nvSpPr>
          <p:cNvPr id="1033" name="doc id"/>
          <p:cNvSpPr>
            <a:spLocks noChangeArrowheads="1"/>
          </p:cNvSpPr>
          <p:nvPr/>
        </p:nvSpPr>
        <p:spPr bwMode="auto">
          <a:xfrm>
            <a:off x="10624749"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rgbClr val="000000"/>
              </a:solidFill>
              <a:latin typeface="+mn-lt"/>
              <a:ea typeface="+mn-ea"/>
            </a:endParaRPr>
          </a:p>
        </p:txBody>
      </p:sp>
      <p:sp>
        <p:nvSpPr>
          <p:cNvPr id="1036" name="Rectangle 286"/>
          <p:cNvSpPr>
            <a:spLocks noGrp="1" noChangeArrowheads="1"/>
          </p:cNvSpPr>
          <p:nvPr>
            <p:ph type="body" idx="1"/>
          </p:nvPr>
        </p:nvSpPr>
        <p:spPr bwMode="auto">
          <a:xfrm>
            <a:off x="3169489" y="2825007"/>
            <a:ext cx="5853024"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508011" y="623131"/>
            <a:ext cx="11188689"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508011" y="290022"/>
            <a:ext cx="6187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508011" y="993244"/>
            <a:ext cx="1118868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3169489" y="2251617"/>
            <a:ext cx="5853024" cy="510219"/>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rgbClr val="808080"/>
                  </a:solidFill>
                  <a:latin typeface="+mn-lt"/>
                  <a:ea typeface="+mn-ea"/>
                </a:rPr>
                <a:t>Unit of measure</a:t>
              </a:r>
            </a:p>
          </p:txBody>
        </p:sp>
      </p:grpSp>
      <p:grpSp>
        <p:nvGrpSpPr>
          <p:cNvPr id="3" name="Slide Elements" hidden="1"/>
          <p:cNvGrpSpPr>
            <a:grpSpLocks/>
          </p:cNvGrpSpPr>
          <p:nvPr userDrawn="1"/>
        </p:nvGrpSpPr>
        <p:grpSpPr bwMode="auto">
          <a:xfrm>
            <a:off x="508011" y="6471314"/>
            <a:ext cx="11188689" cy="300884"/>
            <a:chOff x="172517" y="5852055"/>
            <a:chExt cx="8796540" cy="300884"/>
          </a:xfrm>
        </p:grpSpPr>
        <p:sp>
          <p:nvSpPr>
            <p:cNvPr id="64" name="4. Footnote"/>
            <p:cNvSpPr txBox="1">
              <a:spLocks noChangeArrowheads="1"/>
            </p:cNvSpPr>
            <p:nvPr/>
          </p:nvSpPr>
          <p:spPr bwMode="auto">
            <a:xfrm>
              <a:off x="172517" y="5852055"/>
              <a:ext cx="879654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8900" indent="-88900">
                <a:defRPr/>
              </a:pPr>
              <a:r>
                <a:rPr lang="en-US" sz="800" baseline="0" noProof="0" dirty="0">
                  <a:latin typeface="+mn-lt"/>
                </a:rPr>
                <a:t>1 Footnote</a:t>
              </a:r>
            </a:p>
          </p:txBody>
        </p:sp>
        <p:sp>
          <p:nvSpPr>
            <p:cNvPr id="65" name="5. Source"/>
            <p:cNvSpPr>
              <a:spLocks noChangeArrowheads="1"/>
            </p:cNvSpPr>
            <p:nvPr/>
          </p:nvSpPr>
          <p:spPr bwMode="auto">
            <a:xfrm>
              <a:off x="172517" y="6029828"/>
              <a:ext cx="82520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47663" indent="-347663" defTabSz="895350">
                <a:tabLst>
                  <a:tab pos="346075" algn="l"/>
                </a:tabLst>
              </a:pPr>
              <a:r>
                <a:rPr lang="en-US" sz="800" baseline="0" noProof="0" dirty="0">
                  <a:solidFill>
                    <a:schemeClr val="tx1"/>
                  </a:solidFill>
                  <a:latin typeface="+mn-lt"/>
                </a:rPr>
                <a:t>Source: Source</a:t>
              </a:r>
            </a:p>
          </p:txBody>
        </p:sp>
      </p:grpSp>
      <p:sp>
        <p:nvSpPr>
          <p:cNvPr id="66" name="Slide Number"/>
          <p:cNvSpPr txBox="1">
            <a:spLocks/>
          </p:cNvSpPr>
          <p:nvPr userDrawn="1"/>
        </p:nvSpPr>
        <p:spPr bwMode="auto">
          <a:xfrm>
            <a:off x="11566856" y="6649088"/>
            <a:ext cx="12984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pPr lvl="0" algn="r"/>
              <a:t>‹#›</a:t>
            </a:fld>
            <a:endParaRPr lang="en-US" sz="800" dirty="0"/>
          </a:p>
        </p:txBody>
      </p:sp>
      <p:sp>
        <p:nvSpPr>
          <p:cNvPr id="74" name="Rectangle 73" descr="&lt;Shell Yellow Bar&gt;" title="&lt;Shell Yellow Bar&gt;"/>
          <p:cNvSpPr/>
          <p:nvPr userDrawn="1"/>
        </p:nvSpPr>
        <p:spPr bwMode="auto">
          <a:xfrm>
            <a:off x="508011"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nvGrpSpPr>
          <p:cNvPr id="93" name="LegendBoxes" hidden="1"/>
          <p:cNvGrpSpPr/>
          <p:nvPr userDrawn="1"/>
        </p:nvGrpSpPr>
        <p:grpSpPr bwMode="auto">
          <a:xfrm>
            <a:off x="10982638" y="674085"/>
            <a:ext cx="714062" cy="997467"/>
            <a:chOff x="7835905" y="279400"/>
            <a:chExt cx="714062" cy="997467"/>
          </a:xfrm>
        </p:grpSpPr>
        <p:sp>
          <p:nvSpPr>
            <p:cNvPr id="94"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5"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6"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7"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8" name="Legend1"/>
            <p:cNvSpPr>
              <a:spLocks noChangeArrowheads="1"/>
            </p:cNvSpPr>
            <p:nvPr/>
          </p:nvSpPr>
          <p:spPr bwMode="auto">
            <a:xfrm>
              <a:off x="8089905"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99" name="Legend2"/>
            <p:cNvSpPr>
              <a:spLocks noChangeArrowheads="1"/>
            </p:cNvSpPr>
            <p:nvPr/>
          </p:nvSpPr>
          <p:spPr bwMode="auto">
            <a:xfrm>
              <a:off x="8089905" y="54927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0" name="Legend3"/>
            <p:cNvSpPr>
              <a:spLocks noChangeArrowheads="1"/>
            </p:cNvSpPr>
            <p:nvPr/>
          </p:nvSpPr>
          <p:spPr bwMode="auto">
            <a:xfrm>
              <a:off x="8089905" y="820738"/>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1" name="Legend4"/>
            <p:cNvSpPr>
              <a:spLocks noChangeArrowheads="1"/>
            </p:cNvSpPr>
            <p:nvPr/>
          </p:nvSpPr>
          <p:spPr bwMode="auto">
            <a:xfrm>
              <a:off x="8089905" y="10922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2" name="LegendLines" hidden="1"/>
          <p:cNvGrpSpPr/>
          <p:nvPr userDrawn="1"/>
        </p:nvGrpSpPr>
        <p:grpSpPr bwMode="auto">
          <a:xfrm>
            <a:off x="10674663" y="674085"/>
            <a:ext cx="1022037" cy="730767"/>
            <a:chOff x="7540629" y="279400"/>
            <a:chExt cx="1022037" cy="730767"/>
          </a:xfrm>
        </p:grpSpPr>
        <p:sp>
          <p:nvSpPr>
            <p:cNvPr id="103"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4"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5"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6" name="Legend1"/>
            <p:cNvSpPr>
              <a:spLocks noChangeArrowheads="1"/>
            </p:cNvSpPr>
            <p:nvPr/>
          </p:nvSpPr>
          <p:spPr bwMode="auto">
            <a:xfrm>
              <a:off x="8102604"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7" name="Legend2"/>
            <p:cNvSpPr>
              <a:spLocks noChangeArrowheads="1"/>
            </p:cNvSpPr>
            <p:nvPr/>
          </p:nvSpPr>
          <p:spPr bwMode="auto">
            <a:xfrm>
              <a:off x="8102604" y="5461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8" name="Legend3"/>
            <p:cNvSpPr>
              <a:spLocks noChangeArrowheads="1"/>
            </p:cNvSpPr>
            <p:nvPr/>
          </p:nvSpPr>
          <p:spPr bwMode="auto">
            <a:xfrm>
              <a:off x="8102604" y="8255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9" name="LegendMoons" hidden="1"/>
          <p:cNvGrpSpPr/>
          <p:nvPr userDrawn="1"/>
        </p:nvGrpSpPr>
        <p:grpSpPr bwMode="auto">
          <a:xfrm>
            <a:off x="10915963" y="674085"/>
            <a:ext cx="780737" cy="1306516"/>
            <a:chOff x="7769225" y="250825"/>
            <a:chExt cx="780737" cy="1306516"/>
          </a:xfrm>
        </p:grpSpPr>
        <p:grpSp>
          <p:nvGrpSpPr>
            <p:cNvPr id="110" name="MoonLegend1"/>
            <p:cNvGrpSpPr>
              <a:grpSpLocks noChangeAspect="1"/>
            </p:cNvGrpSpPr>
            <p:nvPr>
              <p:custDataLst>
                <p:tags r:id="rId7"/>
              </p:custDataLst>
            </p:nvPr>
          </p:nvGrpSpPr>
          <p:grpSpPr bwMode="auto">
            <a:xfrm>
              <a:off x="7769225" y="250825"/>
              <a:ext cx="209550" cy="209551"/>
              <a:chOff x="4533" y="183"/>
              <a:chExt cx="144" cy="144"/>
            </a:xfrm>
          </p:grpSpPr>
          <p:sp>
            <p:nvSpPr>
              <p:cNvPr id="128"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9"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1" name="MoonLegend2"/>
            <p:cNvGrpSpPr>
              <a:grpSpLocks noChangeAspect="1"/>
            </p:cNvGrpSpPr>
            <p:nvPr>
              <p:custDataLst>
                <p:tags r:id="rId8"/>
              </p:custDataLst>
            </p:nvPr>
          </p:nvGrpSpPr>
          <p:grpSpPr bwMode="auto">
            <a:xfrm>
              <a:off x="7769225" y="525066"/>
              <a:ext cx="209550" cy="209551"/>
              <a:chOff x="1694" y="2044"/>
              <a:chExt cx="160" cy="160"/>
            </a:xfrm>
          </p:grpSpPr>
          <p:sp>
            <p:nvSpPr>
              <p:cNvPr id="126"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7" name="Arc 42"/>
              <p:cNvSpPr>
                <a:spLocks noChangeAspect="1"/>
              </p:cNvSpPr>
              <p:nvPr>
                <p:custDataLst>
                  <p:tags r:id="rId19"/>
                </p:custDataLst>
              </p:nvPr>
            </p:nvSpPr>
            <p:spPr bwMode="auto">
              <a:xfrm>
                <a:off x="1694" y="2044"/>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2" name="MoonLegend4"/>
            <p:cNvGrpSpPr>
              <a:grpSpLocks noChangeAspect="1"/>
            </p:cNvGrpSpPr>
            <p:nvPr>
              <p:custDataLst>
                <p:tags r:id="rId9"/>
              </p:custDataLst>
            </p:nvPr>
          </p:nvGrpSpPr>
          <p:grpSpPr bwMode="auto">
            <a:xfrm>
              <a:off x="7769225" y="1073548"/>
              <a:ext cx="209550" cy="209551"/>
              <a:chOff x="4495" y="1198"/>
              <a:chExt cx="160" cy="160"/>
            </a:xfrm>
          </p:grpSpPr>
          <p:sp>
            <p:nvSpPr>
              <p:cNvPr id="12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5"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3" name="MoonLegend5"/>
            <p:cNvGrpSpPr>
              <a:grpSpLocks noChangeAspect="1"/>
            </p:cNvGrpSpPr>
            <p:nvPr>
              <p:custDataLst>
                <p:tags r:id="rId10"/>
              </p:custDataLst>
            </p:nvPr>
          </p:nvGrpSpPr>
          <p:grpSpPr bwMode="auto">
            <a:xfrm>
              <a:off x="7769225" y="1347790"/>
              <a:ext cx="209550" cy="209551"/>
              <a:chOff x="4495" y="1440"/>
              <a:chExt cx="160" cy="160"/>
            </a:xfrm>
          </p:grpSpPr>
          <p:sp>
            <p:nvSpPr>
              <p:cNvPr id="122"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3"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4" name="MoonLegend3"/>
            <p:cNvGrpSpPr>
              <a:grpSpLocks noChangeAspect="1"/>
            </p:cNvGrpSpPr>
            <p:nvPr>
              <p:custDataLst>
                <p:tags r:id="rId11"/>
              </p:custDataLst>
            </p:nvPr>
          </p:nvGrpSpPr>
          <p:grpSpPr bwMode="auto">
            <a:xfrm>
              <a:off x="7769225" y="799307"/>
              <a:ext cx="209550" cy="209551"/>
              <a:chOff x="4495" y="1198"/>
              <a:chExt cx="160" cy="160"/>
            </a:xfrm>
          </p:grpSpPr>
          <p:sp>
            <p:nvSpPr>
              <p:cNvPr id="120"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1"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sp>
          <p:nvSpPr>
            <p:cNvPr id="115" name="Legend1"/>
            <p:cNvSpPr>
              <a:spLocks noChangeArrowheads="1"/>
            </p:cNvSpPr>
            <p:nvPr/>
          </p:nvSpPr>
          <p:spPr bwMode="auto">
            <a:xfrm>
              <a:off x="8089900" y="26352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6" name="Legend2"/>
            <p:cNvSpPr>
              <a:spLocks noChangeArrowheads="1"/>
            </p:cNvSpPr>
            <p:nvPr/>
          </p:nvSpPr>
          <p:spPr bwMode="auto">
            <a:xfrm>
              <a:off x="8089900" y="538163"/>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7" name="Legend3"/>
            <p:cNvSpPr>
              <a:spLocks noChangeArrowheads="1"/>
            </p:cNvSpPr>
            <p:nvPr/>
          </p:nvSpPr>
          <p:spPr bwMode="auto">
            <a:xfrm>
              <a:off x="8089900" y="812802"/>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8" name="Legend4"/>
            <p:cNvSpPr>
              <a:spLocks noChangeArrowheads="1"/>
            </p:cNvSpPr>
            <p:nvPr/>
          </p:nvSpPr>
          <p:spPr bwMode="auto">
            <a:xfrm>
              <a:off x="8089900" y="108426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9" name="Legend5"/>
            <p:cNvSpPr>
              <a:spLocks noChangeArrowheads="1"/>
            </p:cNvSpPr>
            <p:nvPr/>
          </p:nvSpPr>
          <p:spPr bwMode="auto">
            <a:xfrm>
              <a:off x="8089900" y="136049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75" name="McKSticker" hidden="1"/>
          <p:cNvGrpSpPr/>
          <p:nvPr userDrawn="1"/>
        </p:nvGrpSpPr>
        <p:grpSpPr bwMode="auto">
          <a:xfrm>
            <a:off x="11306721" y="739932"/>
            <a:ext cx="389979" cy="150811"/>
            <a:chOff x="8350796" y="285750"/>
            <a:chExt cx="389979" cy="150811"/>
          </a:xfrm>
        </p:grpSpPr>
        <p:sp>
          <p:nvSpPr>
            <p:cNvPr id="76" name="StickerRectangle"/>
            <p:cNvSpPr>
              <a:spLocks noChangeArrowheads="1"/>
            </p:cNvSpPr>
            <p:nvPr/>
          </p:nvSpPr>
          <p:spPr bwMode="auto">
            <a:xfrm>
              <a:off x="8350796" y="285750"/>
              <a:ext cx="389979"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GB" sz="800" baseline="0" dirty="0">
                  <a:solidFill>
                    <a:schemeClr val="accent6"/>
                  </a:solidFill>
                  <a:latin typeface="+mn-lt"/>
                  <a:ea typeface="+mn-ea"/>
                </a:rPr>
                <a:t>STICKER</a:t>
              </a:r>
            </a:p>
          </p:txBody>
        </p:sp>
        <p:cxnSp>
          <p:nvCxnSpPr>
            <p:cNvPr id="77" name="AutoShape 31"/>
            <p:cNvCxnSpPr>
              <a:cxnSpLocks noChangeShapeType="1"/>
              <a:stCxn id="76" idx="2"/>
              <a:endCxn id="76" idx="4"/>
            </p:cNvCxnSpPr>
            <p:nvPr/>
          </p:nvCxnSpPr>
          <p:spPr bwMode="auto">
            <a:xfrm>
              <a:off x="8350796"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92" name="AutoShape 32"/>
            <p:cNvCxnSpPr>
              <a:cxnSpLocks noChangeShapeType="1"/>
              <a:stCxn id="76" idx="4"/>
              <a:endCxn id="76" idx="6"/>
            </p:cNvCxnSpPr>
            <p:nvPr/>
          </p:nvCxnSpPr>
          <p:spPr bwMode="auto">
            <a:xfrm>
              <a:off x="8350796" y="436561"/>
              <a:ext cx="389979"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30" name="Moon" hidden="1"/>
          <p:cNvGrpSpPr/>
          <p:nvPr userDrawn="1">
            <p:custDataLst>
              <p:tags r:id="rId6"/>
            </p:custDataLst>
          </p:nvPr>
        </p:nvGrpSpPr>
        <p:grpSpPr bwMode="auto">
          <a:xfrm>
            <a:off x="10200968" y="1404852"/>
            <a:ext cx="254000" cy="254000"/>
            <a:chOff x="762000" y="1270000"/>
            <a:chExt cx="254000" cy="254000"/>
          </a:xfrm>
        </p:grpSpPr>
        <p:sp>
          <p:nvSpPr>
            <p:cNvPr id="131" name="Oval 130"/>
            <p:cNvSpPr/>
            <p:nvPr/>
          </p:nvSpPr>
          <p:spPr bwMode="auto">
            <a:xfrm>
              <a:off x="762000" y="1270000"/>
              <a:ext cx="254000" cy="254000"/>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32" name="Arc 131"/>
            <p:cNvSpPr/>
            <p:nvPr/>
          </p:nvSpPr>
          <p:spPr bwMode="auto">
            <a:xfrm>
              <a:off x="762000" y="1270000"/>
              <a:ext cx="254000" cy="254000"/>
            </a:xfrm>
            <a:prstGeom prst="arc">
              <a:avLst/>
            </a:prstGeom>
            <a:solidFill>
              <a:schemeClr val="accent2"/>
            </a:solidFill>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3900638083"/>
      </p:ext>
    </p:extLst>
  </p:cSld>
  <p:clrMap bg1="lt1" tx1="dk1" bg2="lt2" tx2="dk2" accent1="accent1" accent2="accent2" accent3="accent3" accent4="accent4" accent5="accent5" accent6="accent6" hlink="hlink" folHlink="folHlink"/>
  <p:sldLayoutIdLst>
    <p:sldLayoutId id="2147483667" r:id="rId1"/>
    <p:sldLayoutId id="2147483668" r:id="rId2"/>
  </p:sldLayoutIdLst>
  <p:hf hdr="0" ftr="0" dt="0"/>
  <p:txStyles>
    <p:titleStyle>
      <a:lvl1pPr algn="l" defTabSz="913526" rtl="0" eaLnBrk="1" fontAlgn="base" hangingPunct="1">
        <a:spcBef>
          <a:spcPct val="0"/>
        </a:spcBef>
        <a:spcAft>
          <a:spcPct val="0"/>
        </a:spcAft>
        <a:tabLst>
          <a:tab pos="275353" algn="l"/>
        </a:tabLst>
        <a:defRPr sz="2200" b="1" baseline="0">
          <a:solidFill>
            <a:schemeClr val="tx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2">
          <p15:clr>
            <a:srgbClr val="F26B43"/>
          </p15:clr>
        </p15:guide>
        <p15:guide id="2" pos="312">
          <p15:clr>
            <a:srgbClr val="F26B43"/>
          </p15:clr>
        </p15:guide>
        <p15:guide id="3" pos="7368">
          <p15:clr>
            <a:srgbClr val="F26B43"/>
          </p15:clr>
        </p15:guide>
        <p15:guide id="4" orient="horz" pos="424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5"/>
            </p:custDataLst>
            <p:extLst>
              <p:ext uri="{D42A27DB-BD31-4B8C-83A1-F6EECF244321}">
                <p14:modId xmlns:p14="http://schemas.microsoft.com/office/powerpoint/2010/main" val="3745875948"/>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35846"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0"/>
                        <a:ext cx="215979" cy="161974"/>
                      </a:xfrm>
                      <a:prstGeom prst="rect">
                        <a:avLst/>
                      </a:prstGeom>
                    </p:spPr>
                  </p:pic>
                </p:oleObj>
              </mc:Fallback>
            </mc:AlternateContent>
          </a:graphicData>
        </a:graphic>
      </p:graphicFrame>
      <p:sp>
        <p:nvSpPr>
          <p:cNvPr id="1033" name="doc id"/>
          <p:cNvSpPr>
            <a:spLocks noChangeArrowheads="1"/>
          </p:cNvSpPr>
          <p:nvPr/>
        </p:nvSpPr>
        <p:spPr bwMode="auto">
          <a:xfrm>
            <a:off x="10624749"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rgbClr val="000000"/>
              </a:solidFill>
              <a:latin typeface="+mn-lt"/>
              <a:ea typeface="+mn-ea"/>
            </a:endParaRPr>
          </a:p>
        </p:txBody>
      </p:sp>
      <p:sp>
        <p:nvSpPr>
          <p:cNvPr id="1036" name="Rectangle 286"/>
          <p:cNvSpPr>
            <a:spLocks noGrp="1" noChangeArrowheads="1"/>
          </p:cNvSpPr>
          <p:nvPr>
            <p:ph type="body" idx="1"/>
          </p:nvPr>
        </p:nvSpPr>
        <p:spPr bwMode="auto">
          <a:xfrm>
            <a:off x="3169489" y="2825007"/>
            <a:ext cx="5853024"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508011" y="623131"/>
            <a:ext cx="11188689"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508011" y="290022"/>
            <a:ext cx="6187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508011" y="993244"/>
            <a:ext cx="1118868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3169489" y="2251617"/>
            <a:ext cx="5853024" cy="510219"/>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rgbClr val="808080"/>
                  </a:solidFill>
                  <a:latin typeface="+mn-lt"/>
                  <a:ea typeface="+mn-ea"/>
                </a:rPr>
                <a:t>Unit of measure</a:t>
              </a:r>
            </a:p>
          </p:txBody>
        </p:sp>
      </p:grpSp>
      <p:grpSp>
        <p:nvGrpSpPr>
          <p:cNvPr id="3" name="Slide Elements" hidden="1"/>
          <p:cNvGrpSpPr>
            <a:grpSpLocks/>
          </p:cNvGrpSpPr>
          <p:nvPr userDrawn="1"/>
        </p:nvGrpSpPr>
        <p:grpSpPr bwMode="auto">
          <a:xfrm>
            <a:off x="508011" y="6471314"/>
            <a:ext cx="11188689" cy="300884"/>
            <a:chOff x="172517" y="5852055"/>
            <a:chExt cx="8796540" cy="300884"/>
          </a:xfrm>
        </p:grpSpPr>
        <p:sp>
          <p:nvSpPr>
            <p:cNvPr id="64" name="4. Footnote"/>
            <p:cNvSpPr txBox="1">
              <a:spLocks noChangeArrowheads="1"/>
            </p:cNvSpPr>
            <p:nvPr/>
          </p:nvSpPr>
          <p:spPr bwMode="auto">
            <a:xfrm>
              <a:off x="172517" y="5852055"/>
              <a:ext cx="879654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8900" indent="-88900">
                <a:defRPr/>
              </a:pPr>
              <a:r>
                <a:rPr lang="en-US" sz="800" baseline="0" noProof="0" dirty="0">
                  <a:latin typeface="+mn-lt"/>
                </a:rPr>
                <a:t>1 Footnote</a:t>
              </a:r>
            </a:p>
          </p:txBody>
        </p:sp>
        <p:sp>
          <p:nvSpPr>
            <p:cNvPr id="65" name="5. Source"/>
            <p:cNvSpPr>
              <a:spLocks noChangeArrowheads="1"/>
            </p:cNvSpPr>
            <p:nvPr/>
          </p:nvSpPr>
          <p:spPr bwMode="auto">
            <a:xfrm>
              <a:off x="172517" y="6029828"/>
              <a:ext cx="82520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47663" indent="-347663" defTabSz="895350">
                <a:tabLst>
                  <a:tab pos="346075" algn="l"/>
                </a:tabLst>
              </a:pPr>
              <a:r>
                <a:rPr lang="en-US" sz="800" baseline="0" noProof="0" dirty="0">
                  <a:solidFill>
                    <a:schemeClr val="tx1"/>
                  </a:solidFill>
                  <a:latin typeface="+mn-lt"/>
                </a:rPr>
                <a:t>Source: Source</a:t>
              </a:r>
            </a:p>
          </p:txBody>
        </p:sp>
      </p:grpSp>
      <p:sp>
        <p:nvSpPr>
          <p:cNvPr id="66" name="Slide Number"/>
          <p:cNvSpPr txBox="1">
            <a:spLocks/>
          </p:cNvSpPr>
          <p:nvPr userDrawn="1"/>
        </p:nvSpPr>
        <p:spPr bwMode="auto">
          <a:xfrm>
            <a:off x="11566856" y="6649088"/>
            <a:ext cx="12984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pPr lvl="0" algn="r"/>
              <a:t>‹#›</a:t>
            </a:fld>
            <a:endParaRPr lang="en-US" sz="800" dirty="0"/>
          </a:p>
        </p:txBody>
      </p:sp>
      <p:sp>
        <p:nvSpPr>
          <p:cNvPr id="74" name="Rectangle 73" descr="&lt;Shell Yellow Bar&gt;" title="&lt;Shell Yellow Bar&gt;"/>
          <p:cNvSpPr/>
          <p:nvPr userDrawn="1"/>
        </p:nvSpPr>
        <p:spPr bwMode="auto">
          <a:xfrm>
            <a:off x="508011"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nvGrpSpPr>
          <p:cNvPr id="93" name="LegendBoxes" hidden="1"/>
          <p:cNvGrpSpPr/>
          <p:nvPr userDrawn="1"/>
        </p:nvGrpSpPr>
        <p:grpSpPr bwMode="auto">
          <a:xfrm>
            <a:off x="10982638" y="674085"/>
            <a:ext cx="714062" cy="997467"/>
            <a:chOff x="7835905" y="279400"/>
            <a:chExt cx="714062" cy="997467"/>
          </a:xfrm>
        </p:grpSpPr>
        <p:sp>
          <p:nvSpPr>
            <p:cNvPr id="94"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5"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6"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7"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8" name="Legend1"/>
            <p:cNvSpPr>
              <a:spLocks noChangeArrowheads="1"/>
            </p:cNvSpPr>
            <p:nvPr/>
          </p:nvSpPr>
          <p:spPr bwMode="auto">
            <a:xfrm>
              <a:off x="8089905"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99" name="Legend2"/>
            <p:cNvSpPr>
              <a:spLocks noChangeArrowheads="1"/>
            </p:cNvSpPr>
            <p:nvPr/>
          </p:nvSpPr>
          <p:spPr bwMode="auto">
            <a:xfrm>
              <a:off x="8089905" y="54927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0" name="Legend3"/>
            <p:cNvSpPr>
              <a:spLocks noChangeArrowheads="1"/>
            </p:cNvSpPr>
            <p:nvPr/>
          </p:nvSpPr>
          <p:spPr bwMode="auto">
            <a:xfrm>
              <a:off x="8089905" y="820738"/>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1" name="Legend4"/>
            <p:cNvSpPr>
              <a:spLocks noChangeArrowheads="1"/>
            </p:cNvSpPr>
            <p:nvPr/>
          </p:nvSpPr>
          <p:spPr bwMode="auto">
            <a:xfrm>
              <a:off x="8089905" y="10922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2" name="LegendLines" hidden="1"/>
          <p:cNvGrpSpPr/>
          <p:nvPr userDrawn="1"/>
        </p:nvGrpSpPr>
        <p:grpSpPr bwMode="auto">
          <a:xfrm>
            <a:off x="10674663" y="674085"/>
            <a:ext cx="1022037" cy="730767"/>
            <a:chOff x="7540629" y="279400"/>
            <a:chExt cx="1022037" cy="730767"/>
          </a:xfrm>
        </p:grpSpPr>
        <p:sp>
          <p:nvSpPr>
            <p:cNvPr id="103"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4"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5"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6" name="Legend1"/>
            <p:cNvSpPr>
              <a:spLocks noChangeArrowheads="1"/>
            </p:cNvSpPr>
            <p:nvPr/>
          </p:nvSpPr>
          <p:spPr bwMode="auto">
            <a:xfrm>
              <a:off x="8102604"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7" name="Legend2"/>
            <p:cNvSpPr>
              <a:spLocks noChangeArrowheads="1"/>
            </p:cNvSpPr>
            <p:nvPr/>
          </p:nvSpPr>
          <p:spPr bwMode="auto">
            <a:xfrm>
              <a:off x="8102604" y="5461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8" name="Legend3"/>
            <p:cNvSpPr>
              <a:spLocks noChangeArrowheads="1"/>
            </p:cNvSpPr>
            <p:nvPr/>
          </p:nvSpPr>
          <p:spPr bwMode="auto">
            <a:xfrm>
              <a:off x="8102604" y="8255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9" name="LegendMoons" hidden="1"/>
          <p:cNvGrpSpPr/>
          <p:nvPr userDrawn="1"/>
        </p:nvGrpSpPr>
        <p:grpSpPr bwMode="auto">
          <a:xfrm>
            <a:off x="10915963" y="674085"/>
            <a:ext cx="780737" cy="1306516"/>
            <a:chOff x="7769225" y="250825"/>
            <a:chExt cx="780737" cy="1306516"/>
          </a:xfrm>
        </p:grpSpPr>
        <p:grpSp>
          <p:nvGrpSpPr>
            <p:cNvPr id="110" name="MoonLegend1"/>
            <p:cNvGrpSpPr>
              <a:grpSpLocks noChangeAspect="1"/>
            </p:cNvGrpSpPr>
            <p:nvPr>
              <p:custDataLst>
                <p:tags r:id="rId7"/>
              </p:custDataLst>
            </p:nvPr>
          </p:nvGrpSpPr>
          <p:grpSpPr bwMode="auto">
            <a:xfrm>
              <a:off x="7769225" y="250825"/>
              <a:ext cx="209550" cy="209551"/>
              <a:chOff x="4533" y="183"/>
              <a:chExt cx="144" cy="144"/>
            </a:xfrm>
          </p:grpSpPr>
          <p:sp>
            <p:nvSpPr>
              <p:cNvPr id="128"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9"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1" name="MoonLegend2"/>
            <p:cNvGrpSpPr>
              <a:grpSpLocks noChangeAspect="1"/>
            </p:cNvGrpSpPr>
            <p:nvPr>
              <p:custDataLst>
                <p:tags r:id="rId8"/>
              </p:custDataLst>
            </p:nvPr>
          </p:nvGrpSpPr>
          <p:grpSpPr bwMode="auto">
            <a:xfrm>
              <a:off x="7769225" y="525066"/>
              <a:ext cx="209550" cy="209551"/>
              <a:chOff x="1694" y="2044"/>
              <a:chExt cx="160" cy="160"/>
            </a:xfrm>
          </p:grpSpPr>
          <p:sp>
            <p:nvSpPr>
              <p:cNvPr id="126"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7" name="Arc 42"/>
              <p:cNvSpPr>
                <a:spLocks noChangeAspect="1"/>
              </p:cNvSpPr>
              <p:nvPr>
                <p:custDataLst>
                  <p:tags r:id="rId19"/>
                </p:custDataLst>
              </p:nvPr>
            </p:nvSpPr>
            <p:spPr bwMode="auto">
              <a:xfrm>
                <a:off x="1694" y="2044"/>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2" name="MoonLegend4"/>
            <p:cNvGrpSpPr>
              <a:grpSpLocks noChangeAspect="1"/>
            </p:cNvGrpSpPr>
            <p:nvPr>
              <p:custDataLst>
                <p:tags r:id="rId9"/>
              </p:custDataLst>
            </p:nvPr>
          </p:nvGrpSpPr>
          <p:grpSpPr bwMode="auto">
            <a:xfrm>
              <a:off x="7769225" y="1073548"/>
              <a:ext cx="209550" cy="209551"/>
              <a:chOff x="4495" y="1198"/>
              <a:chExt cx="160" cy="160"/>
            </a:xfrm>
          </p:grpSpPr>
          <p:sp>
            <p:nvSpPr>
              <p:cNvPr id="12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5"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3" name="MoonLegend5"/>
            <p:cNvGrpSpPr>
              <a:grpSpLocks noChangeAspect="1"/>
            </p:cNvGrpSpPr>
            <p:nvPr>
              <p:custDataLst>
                <p:tags r:id="rId10"/>
              </p:custDataLst>
            </p:nvPr>
          </p:nvGrpSpPr>
          <p:grpSpPr bwMode="auto">
            <a:xfrm>
              <a:off x="7769225" y="1347790"/>
              <a:ext cx="209550" cy="209551"/>
              <a:chOff x="4495" y="1440"/>
              <a:chExt cx="160" cy="160"/>
            </a:xfrm>
          </p:grpSpPr>
          <p:sp>
            <p:nvSpPr>
              <p:cNvPr id="122"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3"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4" name="MoonLegend3"/>
            <p:cNvGrpSpPr>
              <a:grpSpLocks noChangeAspect="1"/>
            </p:cNvGrpSpPr>
            <p:nvPr>
              <p:custDataLst>
                <p:tags r:id="rId11"/>
              </p:custDataLst>
            </p:nvPr>
          </p:nvGrpSpPr>
          <p:grpSpPr bwMode="auto">
            <a:xfrm>
              <a:off x="7769225" y="799307"/>
              <a:ext cx="209550" cy="209551"/>
              <a:chOff x="4495" y="1198"/>
              <a:chExt cx="160" cy="160"/>
            </a:xfrm>
          </p:grpSpPr>
          <p:sp>
            <p:nvSpPr>
              <p:cNvPr id="120"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1"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sp>
          <p:nvSpPr>
            <p:cNvPr id="115" name="Legend1"/>
            <p:cNvSpPr>
              <a:spLocks noChangeArrowheads="1"/>
            </p:cNvSpPr>
            <p:nvPr/>
          </p:nvSpPr>
          <p:spPr bwMode="auto">
            <a:xfrm>
              <a:off x="8089900" y="26352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6" name="Legend2"/>
            <p:cNvSpPr>
              <a:spLocks noChangeArrowheads="1"/>
            </p:cNvSpPr>
            <p:nvPr/>
          </p:nvSpPr>
          <p:spPr bwMode="auto">
            <a:xfrm>
              <a:off x="8089900" y="538163"/>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7" name="Legend3"/>
            <p:cNvSpPr>
              <a:spLocks noChangeArrowheads="1"/>
            </p:cNvSpPr>
            <p:nvPr/>
          </p:nvSpPr>
          <p:spPr bwMode="auto">
            <a:xfrm>
              <a:off x="8089900" y="812802"/>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8" name="Legend4"/>
            <p:cNvSpPr>
              <a:spLocks noChangeArrowheads="1"/>
            </p:cNvSpPr>
            <p:nvPr/>
          </p:nvSpPr>
          <p:spPr bwMode="auto">
            <a:xfrm>
              <a:off x="8089900" y="108426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9" name="Legend5"/>
            <p:cNvSpPr>
              <a:spLocks noChangeArrowheads="1"/>
            </p:cNvSpPr>
            <p:nvPr/>
          </p:nvSpPr>
          <p:spPr bwMode="auto">
            <a:xfrm>
              <a:off x="8089900" y="136049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75" name="McKSticker" hidden="1"/>
          <p:cNvGrpSpPr/>
          <p:nvPr userDrawn="1"/>
        </p:nvGrpSpPr>
        <p:grpSpPr bwMode="auto">
          <a:xfrm>
            <a:off x="11306721" y="739932"/>
            <a:ext cx="389979" cy="150811"/>
            <a:chOff x="8350796" y="285750"/>
            <a:chExt cx="389979" cy="150811"/>
          </a:xfrm>
        </p:grpSpPr>
        <p:sp>
          <p:nvSpPr>
            <p:cNvPr id="76" name="StickerRectangle"/>
            <p:cNvSpPr>
              <a:spLocks noChangeArrowheads="1"/>
            </p:cNvSpPr>
            <p:nvPr/>
          </p:nvSpPr>
          <p:spPr bwMode="auto">
            <a:xfrm>
              <a:off x="8350796" y="285750"/>
              <a:ext cx="389979"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GB" sz="800" baseline="0" dirty="0">
                  <a:solidFill>
                    <a:schemeClr val="accent6"/>
                  </a:solidFill>
                  <a:latin typeface="+mn-lt"/>
                  <a:ea typeface="+mn-ea"/>
                </a:rPr>
                <a:t>STICKER</a:t>
              </a:r>
            </a:p>
          </p:txBody>
        </p:sp>
        <p:cxnSp>
          <p:nvCxnSpPr>
            <p:cNvPr id="77" name="AutoShape 31"/>
            <p:cNvCxnSpPr>
              <a:cxnSpLocks noChangeShapeType="1"/>
              <a:stCxn id="76" idx="2"/>
              <a:endCxn id="76" idx="4"/>
            </p:cNvCxnSpPr>
            <p:nvPr/>
          </p:nvCxnSpPr>
          <p:spPr bwMode="auto">
            <a:xfrm>
              <a:off x="8350796"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92" name="AutoShape 32"/>
            <p:cNvCxnSpPr>
              <a:cxnSpLocks noChangeShapeType="1"/>
              <a:stCxn id="76" idx="4"/>
              <a:endCxn id="76" idx="6"/>
            </p:cNvCxnSpPr>
            <p:nvPr/>
          </p:nvCxnSpPr>
          <p:spPr bwMode="auto">
            <a:xfrm>
              <a:off x="8350796" y="436561"/>
              <a:ext cx="389979"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30" name="Moon" hidden="1"/>
          <p:cNvGrpSpPr/>
          <p:nvPr userDrawn="1">
            <p:custDataLst>
              <p:tags r:id="rId6"/>
            </p:custDataLst>
          </p:nvPr>
        </p:nvGrpSpPr>
        <p:grpSpPr bwMode="auto">
          <a:xfrm>
            <a:off x="10200968" y="1404852"/>
            <a:ext cx="254000" cy="254000"/>
            <a:chOff x="762000" y="1270000"/>
            <a:chExt cx="254000" cy="254000"/>
          </a:xfrm>
        </p:grpSpPr>
        <p:sp>
          <p:nvSpPr>
            <p:cNvPr id="131" name="Oval 130"/>
            <p:cNvSpPr/>
            <p:nvPr/>
          </p:nvSpPr>
          <p:spPr bwMode="auto">
            <a:xfrm>
              <a:off x="762000" y="1270000"/>
              <a:ext cx="254000" cy="254000"/>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32" name="Arc 131"/>
            <p:cNvSpPr/>
            <p:nvPr/>
          </p:nvSpPr>
          <p:spPr bwMode="auto">
            <a:xfrm>
              <a:off x="762000" y="1270000"/>
              <a:ext cx="254000" cy="254000"/>
            </a:xfrm>
            <a:prstGeom prst="arc">
              <a:avLst/>
            </a:prstGeom>
            <a:solidFill>
              <a:schemeClr val="accent2"/>
            </a:solidFill>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967663647"/>
      </p:ext>
    </p:extLst>
  </p:cSld>
  <p:clrMap bg1="lt1" tx1="dk1" bg2="lt2" tx2="dk2" accent1="accent1" accent2="accent2" accent3="accent3" accent4="accent4" accent5="accent5" accent6="accent6" hlink="hlink" folHlink="folHlink"/>
  <p:sldLayoutIdLst>
    <p:sldLayoutId id="2147483670" r:id="rId1"/>
    <p:sldLayoutId id="2147483671" r:id="rId2"/>
  </p:sldLayoutIdLst>
  <p:hf hdr="0" ftr="0" dt="0"/>
  <p:txStyles>
    <p:titleStyle>
      <a:lvl1pPr algn="l" defTabSz="913526" rtl="0" eaLnBrk="1" fontAlgn="base" hangingPunct="1">
        <a:spcBef>
          <a:spcPct val="0"/>
        </a:spcBef>
        <a:spcAft>
          <a:spcPct val="0"/>
        </a:spcAft>
        <a:tabLst>
          <a:tab pos="275353" algn="l"/>
        </a:tabLst>
        <a:defRPr sz="2200" b="1" baseline="0">
          <a:solidFill>
            <a:schemeClr val="tx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2">
          <p15:clr>
            <a:srgbClr val="F26B43"/>
          </p15:clr>
        </p15:guide>
        <p15:guide id="2" pos="312">
          <p15:clr>
            <a:srgbClr val="F26B43"/>
          </p15:clr>
        </p15:guide>
        <p15:guide id="3" pos="7368">
          <p15:clr>
            <a:srgbClr val="F26B43"/>
          </p15:clr>
        </p15:guide>
        <p15:guide id="4" orient="horz" pos="424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84.xml"/><Relationship Id="rId3" Type="http://schemas.openxmlformats.org/officeDocument/2006/relationships/tags" Target="../tags/tag79.xml"/><Relationship Id="rId7" Type="http://schemas.openxmlformats.org/officeDocument/2006/relationships/tags" Target="../tags/tag83.xml"/><Relationship Id="rId12" Type="http://schemas.openxmlformats.org/officeDocument/2006/relationships/oleObject" Target="../embeddings/oleObject13.bin"/><Relationship Id="rId2" Type="http://schemas.openxmlformats.org/officeDocument/2006/relationships/tags" Target="../tags/tag78.xml"/><Relationship Id="rId1" Type="http://schemas.openxmlformats.org/officeDocument/2006/relationships/vmlDrawing" Target="../drawings/vmlDrawing13.vml"/><Relationship Id="rId6" Type="http://schemas.openxmlformats.org/officeDocument/2006/relationships/tags" Target="../tags/tag82.xml"/><Relationship Id="rId11" Type="http://schemas.openxmlformats.org/officeDocument/2006/relationships/notesSlide" Target="../notesSlides/notesSlide1.xml"/><Relationship Id="rId5" Type="http://schemas.openxmlformats.org/officeDocument/2006/relationships/tags" Target="../tags/tag81.xml"/><Relationship Id="rId10" Type="http://schemas.openxmlformats.org/officeDocument/2006/relationships/slideLayout" Target="../slideLayouts/slideLayout8.xml"/><Relationship Id="rId4" Type="http://schemas.openxmlformats.org/officeDocument/2006/relationships/tags" Target="../tags/tag80.xml"/><Relationship Id="rId9" Type="http://schemas.openxmlformats.org/officeDocument/2006/relationships/tags" Target="../tags/tag8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3875" name="Rectangle 3" hidden="1"/>
          <p:cNvGraphicFramePr>
            <a:graphicFrameLocks/>
          </p:cNvGraphicFramePr>
          <p:nvPr>
            <p:custDataLst>
              <p:tags r:id="rId3"/>
            </p:custDataLst>
          </p:nvPr>
        </p:nvGraphicFramePr>
        <p:xfrm>
          <a:off x="1524271" y="203"/>
          <a:ext cx="158735" cy="158726"/>
        </p:xfrm>
        <a:graphic>
          <a:graphicData uri="http://schemas.openxmlformats.org/presentationml/2006/ole">
            <mc:AlternateContent xmlns:mc="http://schemas.openxmlformats.org/markup-compatibility/2006">
              <mc:Choice xmlns:v="urn:schemas-microsoft-com:vml" Requires="v">
                <p:oleObj spid="_x0000_s39942" name="think-cell Slide" r:id="rId12" imgW="0" imgH="0" progId="TCLayout.ActiveDocument.1">
                  <p:embed/>
                </p:oleObj>
              </mc:Choice>
              <mc:Fallback>
                <p:oleObj name="think-cell Slide" r:id="rId12" imgW="0" imgH="0" progId="TCLayout.ActiveDocument.1">
                  <p:embed/>
                  <p:pic>
                    <p:nvPicPr>
                      <p:cNvPr id="1743875" name="Rectangle 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271" y="203"/>
                        <a:ext cx="158735" cy="158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p:cNvSpPr/>
          <p:nvPr>
            <p:custDataLst>
              <p:tags r:id="rId4"/>
            </p:custDataLst>
          </p:nvPr>
        </p:nvSpPr>
        <p:spPr bwMode="auto">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200" b="1" i="0" u="none" strike="noStrike" kern="1200" cap="none" spc="0" normalizeH="0" baseline="0" noProof="0" dirty="0" err="1">
              <a:ln>
                <a:noFill/>
              </a:ln>
              <a:solidFill>
                <a:srgbClr val="595959"/>
              </a:solidFill>
              <a:effectLst/>
              <a:uLnTx/>
              <a:uFillTx/>
              <a:latin typeface="Futura Bold" panose="02020800000000000000" pitchFamily="18" charset="0"/>
              <a:ea typeface="Arial Unicode MS" panose="020B0604020202020204"/>
              <a:cs typeface="Arial Unicode MS" panose="020B0604020202020204" pitchFamily="34" charset="-128"/>
              <a:sym typeface="Futura Bold" panose="02020800000000000000" pitchFamily="18" charset="0"/>
            </a:endParaRPr>
          </a:p>
        </p:txBody>
      </p:sp>
      <p:sp>
        <p:nvSpPr>
          <p:cNvPr id="171" name="Title 3"/>
          <p:cNvSpPr>
            <a:spLocks noGrp="1"/>
          </p:cNvSpPr>
          <p:nvPr>
            <p:ph type="title"/>
          </p:nvPr>
        </p:nvSpPr>
        <p:spPr>
          <a:xfrm>
            <a:off x="508011" y="623131"/>
            <a:ext cx="11438824" cy="33855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r>
              <a:rPr lang="en-US" dirty="0">
                <a:latin typeface="ShellMedium" panose="00000600000000000000" pitchFamily="50" charset="0"/>
              </a:rPr>
              <a:t>Change IR Crushing activity contract from Major Project to Pipelines Pigging Contract  by Feb 2021</a:t>
            </a:r>
          </a:p>
        </p:txBody>
      </p:sp>
      <p:sp>
        <p:nvSpPr>
          <p:cNvPr id="201" name="Rectangle 47"/>
          <p:cNvSpPr>
            <a:spLocks noChangeArrowheads="1"/>
          </p:cNvSpPr>
          <p:nvPr/>
        </p:nvSpPr>
        <p:spPr bwMode="gray">
          <a:xfrm>
            <a:off x="6084944" y="1317625"/>
            <a:ext cx="5604336" cy="642938"/>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ShellMedium" panose="00000600000000000000" pitchFamily="50" charset="0"/>
              <a:ea typeface="ＭＳ Ｐゴシック"/>
              <a:cs typeface="+mn-cs"/>
            </a:endParaRPr>
          </a:p>
        </p:txBody>
      </p:sp>
      <p:sp>
        <p:nvSpPr>
          <p:cNvPr id="202" name="Rectangle 99"/>
          <p:cNvSpPr>
            <a:spLocks noChangeArrowheads="1"/>
          </p:cNvSpPr>
          <p:nvPr/>
        </p:nvSpPr>
        <p:spPr bwMode="gray">
          <a:xfrm>
            <a:off x="6157770" y="1565275"/>
            <a:ext cx="731475" cy="149225"/>
          </a:xfrm>
          <a:prstGeom prst="rect">
            <a:avLst/>
          </a:prstGeom>
          <a:noFill/>
          <a:ln w="9525">
            <a:noFill/>
            <a:miter lim="800000"/>
            <a:headEnd/>
            <a:tailEnd/>
          </a:ln>
          <a:effectLst/>
        </p:spPr>
        <p:txBody>
          <a:bodyPr wrap="non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90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L2 date</a:t>
            </a:r>
          </a:p>
        </p:txBody>
      </p:sp>
      <p:sp>
        <p:nvSpPr>
          <p:cNvPr id="205" name="Rectangle 49"/>
          <p:cNvSpPr>
            <a:spLocks noChangeArrowheads="1"/>
          </p:cNvSpPr>
          <p:nvPr/>
        </p:nvSpPr>
        <p:spPr bwMode="gray">
          <a:xfrm>
            <a:off x="8733973" y="1363663"/>
            <a:ext cx="1060047" cy="149225"/>
          </a:xfrm>
          <a:prstGeom prst="rect">
            <a:avLst/>
          </a:prstGeom>
          <a:noFill/>
          <a:ln w="9525">
            <a:noFill/>
            <a:miter lim="800000"/>
            <a:headEnd/>
            <a:tailEnd/>
          </a:ln>
          <a:effectLst/>
        </p:spPr>
        <p:txBody>
          <a:bodyPr wrap="non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90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Initiative lead </a:t>
            </a:r>
          </a:p>
        </p:txBody>
      </p:sp>
      <p:sp>
        <p:nvSpPr>
          <p:cNvPr id="206" name="Rectangle 51"/>
          <p:cNvSpPr>
            <a:spLocks noChangeArrowheads="1"/>
          </p:cNvSpPr>
          <p:nvPr/>
        </p:nvSpPr>
        <p:spPr bwMode="gray">
          <a:xfrm>
            <a:off x="9842144" y="1363663"/>
            <a:ext cx="1460982" cy="149225"/>
          </a:xfrm>
          <a:prstGeom prst="rect">
            <a:avLst/>
          </a:prstGeom>
          <a:noFill/>
          <a:ln w="9525">
            <a:noFill/>
            <a:miter lim="800000"/>
            <a:headEnd/>
            <a:tailEnd/>
          </a:ln>
          <a:effectLst/>
        </p:spPr>
        <p:txBody>
          <a:bodyPr wrap="non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90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mn-cs"/>
              </a:rPr>
              <a:t>Henry Unobukwu </a:t>
            </a:r>
          </a:p>
        </p:txBody>
      </p:sp>
      <p:sp>
        <p:nvSpPr>
          <p:cNvPr id="207" name="Rectangle 99"/>
          <p:cNvSpPr>
            <a:spLocks noChangeArrowheads="1"/>
          </p:cNvSpPr>
          <p:nvPr/>
        </p:nvSpPr>
        <p:spPr bwMode="gray">
          <a:xfrm>
            <a:off x="6157770" y="1363663"/>
            <a:ext cx="731475" cy="149225"/>
          </a:xfrm>
          <a:prstGeom prst="rect">
            <a:avLst/>
          </a:prstGeom>
          <a:noFill/>
          <a:ln w="9525">
            <a:noFill/>
            <a:miter lim="800000"/>
            <a:headEnd/>
            <a:tailEnd/>
          </a:ln>
          <a:effectLst/>
        </p:spPr>
        <p:txBody>
          <a:bodyPr wrap="non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90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Current stage gate</a:t>
            </a:r>
          </a:p>
        </p:txBody>
      </p:sp>
      <p:sp>
        <p:nvSpPr>
          <p:cNvPr id="208" name="Rectangle 100"/>
          <p:cNvSpPr>
            <a:spLocks noChangeArrowheads="1"/>
          </p:cNvSpPr>
          <p:nvPr/>
        </p:nvSpPr>
        <p:spPr bwMode="gray">
          <a:xfrm>
            <a:off x="7424630" y="1370012"/>
            <a:ext cx="995963" cy="149225"/>
          </a:xfrm>
          <a:prstGeom prst="rect">
            <a:avLst/>
          </a:prstGeom>
          <a:noFill/>
          <a:ln w="9525">
            <a:noFill/>
            <a:miter lim="800000"/>
            <a:headEnd/>
            <a:tailEnd/>
          </a:ln>
          <a:effectLst/>
        </p:spPr>
        <p:txBody>
          <a:bodyPr wrap="squar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mn-cs"/>
              </a:rPr>
              <a:t>L0</a:t>
            </a:r>
          </a:p>
        </p:txBody>
      </p:sp>
      <p:sp>
        <p:nvSpPr>
          <p:cNvPr id="209" name="Rectangle 40"/>
          <p:cNvSpPr>
            <a:spLocks noChangeArrowheads="1"/>
          </p:cNvSpPr>
          <p:nvPr/>
        </p:nvSpPr>
        <p:spPr bwMode="gray">
          <a:xfrm>
            <a:off x="8733973" y="1766888"/>
            <a:ext cx="1060047" cy="147638"/>
          </a:xfrm>
          <a:prstGeom prst="rect">
            <a:avLst/>
          </a:prstGeom>
          <a:noFill/>
          <a:ln w="9525">
            <a:noFill/>
            <a:miter lim="800000"/>
            <a:headEnd/>
            <a:tailEnd/>
          </a:ln>
          <a:effectLst/>
        </p:spPr>
        <p:txBody>
          <a:bodyPr wrap="non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90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Initiative sponsor </a:t>
            </a:r>
          </a:p>
        </p:txBody>
      </p:sp>
      <p:sp>
        <p:nvSpPr>
          <p:cNvPr id="210" name="Rectangle 51"/>
          <p:cNvSpPr>
            <a:spLocks noChangeArrowheads="1"/>
          </p:cNvSpPr>
          <p:nvPr/>
        </p:nvSpPr>
        <p:spPr bwMode="gray">
          <a:xfrm>
            <a:off x="9842144" y="1766888"/>
            <a:ext cx="1460982" cy="147638"/>
          </a:xfrm>
          <a:prstGeom prst="rect">
            <a:avLst/>
          </a:prstGeom>
          <a:noFill/>
          <a:ln w="9525">
            <a:noFill/>
            <a:miter lim="800000"/>
            <a:headEnd/>
            <a:tailEnd/>
          </a:ln>
          <a:effectLst/>
        </p:spPr>
        <p:txBody>
          <a:bodyPr wrap="non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90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mn-cs"/>
              </a:rPr>
              <a:t>Steve Jones </a:t>
            </a:r>
          </a:p>
        </p:txBody>
      </p:sp>
      <p:sp>
        <p:nvSpPr>
          <p:cNvPr id="211" name="Rectangle 99"/>
          <p:cNvSpPr>
            <a:spLocks noChangeArrowheads="1"/>
          </p:cNvSpPr>
          <p:nvPr/>
        </p:nvSpPr>
        <p:spPr bwMode="gray">
          <a:xfrm>
            <a:off x="6157770" y="1766888"/>
            <a:ext cx="731475" cy="147638"/>
          </a:xfrm>
          <a:prstGeom prst="rect">
            <a:avLst/>
          </a:prstGeom>
          <a:noFill/>
          <a:ln w="9525">
            <a:noFill/>
            <a:miter lim="800000"/>
            <a:headEnd/>
            <a:tailEnd/>
          </a:ln>
          <a:effectLst/>
        </p:spPr>
        <p:txBody>
          <a:bodyPr wrap="non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90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L3 date</a:t>
            </a:r>
          </a:p>
        </p:txBody>
      </p:sp>
      <p:sp>
        <p:nvSpPr>
          <p:cNvPr id="213" name="Rectangle 100"/>
          <p:cNvSpPr>
            <a:spLocks noChangeArrowheads="1"/>
          </p:cNvSpPr>
          <p:nvPr/>
        </p:nvSpPr>
        <p:spPr bwMode="gray">
          <a:xfrm>
            <a:off x="7369652" y="1766888"/>
            <a:ext cx="995963" cy="147638"/>
          </a:xfrm>
          <a:prstGeom prst="rect">
            <a:avLst/>
          </a:prstGeom>
          <a:noFill/>
          <a:ln w="9525">
            <a:noFill/>
            <a:miter lim="800000"/>
            <a:headEnd/>
            <a:tailEnd/>
          </a:ln>
          <a:effectLst/>
        </p:spPr>
        <p:txBody>
          <a:bodyPr wrap="squar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mn-cs"/>
              </a:rPr>
              <a:t>TBD </a:t>
            </a:r>
          </a:p>
        </p:txBody>
      </p:sp>
      <p:sp>
        <p:nvSpPr>
          <p:cNvPr id="238" name="Rectangle 100"/>
          <p:cNvSpPr>
            <a:spLocks noChangeArrowheads="1"/>
          </p:cNvSpPr>
          <p:nvPr/>
        </p:nvSpPr>
        <p:spPr bwMode="gray">
          <a:xfrm>
            <a:off x="7369652" y="1562100"/>
            <a:ext cx="1170756" cy="152400"/>
          </a:xfrm>
          <a:prstGeom prst="rect">
            <a:avLst/>
          </a:prstGeom>
          <a:noFill/>
          <a:ln w="9525">
            <a:noFill/>
            <a:miter lim="800000"/>
            <a:headEnd/>
            <a:tailEnd/>
          </a:ln>
          <a:effectLst/>
        </p:spPr>
        <p:txBody>
          <a:bodyPr wrap="squar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mn-cs"/>
              </a:rPr>
              <a:t>TBD </a:t>
            </a:r>
          </a:p>
        </p:txBody>
      </p:sp>
      <p:sp>
        <p:nvSpPr>
          <p:cNvPr id="1743911" name="Rectangle 39"/>
          <p:cNvSpPr>
            <a:spLocks noChangeArrowheads="1"/>
          </p:cNvSpPr>
          <p:nvPr/>
        </p:nvSpPr>
        <p:spPr bwMode="gray">
          <a:xfrm>
            <a:off x="534086" y="1317625"/>
            <a:ext cx="1711793" cy="642938"/>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ShellMedium" panose="00000600000000000000" pitchFamily="50" charset="0"/>
              <a:ea typeface="ＭＳ Ｐゴシック"/>
              <a:cs typeface="+mn-cs"/>
            </a:endParaRPr>
          </a:p>
        </p:txBody>
      </p:sp>
      <p:sp>
        <p:nvSpPr>
          <p:cNvPr id="200" name="Rectangle 42"/>
          <p:cNvSpPr>
            <a:spLocks noChangeArrowheads="1"/>
          </p:cNvSpPr>
          <p:nvPr/>
        </p:nvSpPr>
        <p:spPr bwMode="gray">
          <a:xfrm>
            <a:off x="2351830" y="1309688"/>
            <a:ext cx="3629346" cy="644525"/>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ShellMedium" panose="00000600000000000000" pitchFamily="50" charset="0"/>
              <a:ea typeface="ＭＳ Ｐゴシック"/>
              <a:cs typeface="+mn-cs"/>
            </a:endParaRPr>
          </a:p>
        </p:txBody>
      </p:sp>
      <p:sp>
        <p:nvSpPr>
          <p:cNvPr id="177" name="Rectangle 16">
            <a:extLst>
              <a:ext uri="{FF2B5EF4-FFF2-40B4-BE49-F238E27FC236}">
                <a16:creationId xmlns:a16="http://schemas.microsoft.com/office/drawing/2014/main" id="{D4DF9AFA-2668-4C80-B5F7-9652579F35A4}"/>
              </a:ext>
            </a:extLst>
          </p:cNvPr>
          <p:cNvSpPr>
            <a:spLocks noChangeArrowheads="1"/>
          </p:cNvSpPr>
          <p:nvPr/>
        </p:nvSpPr>
        <p:spPr bwMode="gray">
          <a:xfrm>
            <a:off x="534086" y="2046289"/>
            <a:ext cx="5447090" cy="1761560"/>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ShellMedium" panose="00000600000000000000" pitchFamily="50" charset="0"/>
              <a:ea typeface="ＭＳ Ｐゴシック"/>
              <a:cs typeface="+mn-cs"/>
            </a:endParaRPr>
          </a:p>
        </p:txBody>
      </p:sp>
      <p:sp>
        <p:nvSpPr>
          <p:cNvPr id="1743891" name="Rectangle 19"/>
          <p:cNvSpPr>
            <a:spLocks noChangeArrowheads="1"/>
          </p:cNvSpPr>
          <p:nvPr/>
        </p:nvSpPr>
        <p:spPr bwMode="gray">
          <a:xfrm>
            <a:off x="534086" y="2046289"/>
            <a:ext cx="5447090" cy="200025"/>
          </a:xfrm>
          <a:prstGeom prst="rect">
            <a:avLst/>
          </a:prstGeom>
          <a:solidFill>
            <a:schemeClr val="accent1"/>
          </a:solidFill>
          <a:ln w="9525">
            <a:noFill/>
            <a:miter lim="800000"/>
            <a:headEnd/>
            <a:tailEnd/>
          </a:ln>
          <a:effectLst/>
        </p:spPr>
        <p:txBody>
          <a:bodyPr wrap="square" lIns="73472" tIns="73472" rIns="73472" bIns="73472" anchor="ctr" anchorCtr="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Problem statement  </a:t>
            </a:r>
          </a:p>
        </p:txBody>
      </p:sp>
      <p:sp>
        <p:nvSpPr>
          <p:cNvPr id="4" name="TextBox 3"/>
          <p:cNvSpPr txBox="1">
            <a:spLocks/>
          </p:cNvSpPr>
          <p:nvPr/>
        </p:nvSpPr>
        <p:spPr>
          <a:xfrm>
            <a:off x="601443" y="2258608"/>
            <a:ext cx="5342158" cy="13139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913526" eaLnBrk="1" hangingPunct="1">
              <a:buClr>
                <a:schemeClr val="tx2"/>
              </a:buClr>
              <a:defRPr baseline="0">
                <a:latin typeface="+mn-lt"/>
              </a:defRPr>
            </a:lvl1pPr>
            <a:lvl2pPr marL="266700" lvl="1" indent="-265113" defTabSz="913526" eaLnBrk="1" hangingPunct="1">
              <a:buClr>
                <a:schemeClr val="accent3"/>
              </a:buClr>
              <a:buSzPct val="90000"/>
              <a:buFont typeface="Wingdings 3" pitchFamily="18" charset="2"/>
              <a:buChar char=""/>
              <a:defRPr baseline="0">
                <a:latin typeface="+mn-lt"/>
              </a:defRPr>
            </a:lvl2pPr>
            <a:lvl3pPr marL="536575" lvl="2" indent="-274638" defTabSz="913526" eaLnBrk="1" hangingPunct="1">
              <a:buClr>
                <a:schemeClr val="accent6"/>
              </a:buClr>
              <a:buSzPct val="90000"/>
              <a:buFont typeface="Wingdings 3" pitchFamily="18" charset="2"/>
              <a:buChar char="u"/>
              <a:defRPr baseline="0">
                <a:latin typeface="+mn-lt"/>
              </a:defRPr>
            </a:lvl3pPr>
            <a:lvl4pPr marL="750888" lvl="3" indent="-212725" defTabSz="913526" eaLnBrk="1" hangingPunct="1">
              <a:buClr>
                <a:schemeClr val="tx2"/>
              </a:buClr>
              <a:buSzPct val="100000"/>
              <a:buFont typeface="Arial" panose="020B0604020202020204" pitchFamily="34" charset="0"/>
              <a:buChar char="–"/>
              <a:defRPr baseline="0">
                <a:latin typeface="+mn-lt"/>
              </a:defRPr>
            </a:lvl4pPr>
            <a:lvl5pPr marL="985838" lvl="4" indent="-215900" defTabSz="913526" eaLnBrk="1" hangingPunct="1">
              <a:buClr>
                <a:schemeClr val="tx2"/>
              </a:buClr>
              <a:buSzPct val="100000"/>
              <a:buFont typeface="Arial" panose="020B0604020202020204" pitchFamily="34"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88" marR="0" lvl="1" indent="0" algn="l" defTabSz="895255" rtl="0" eaLnBrk="1" fontAlgn="base" latinLnBrk="0" hangingPunct="1">
              <a:lnSpc>
                <a:spcPct val="100000"/>
              </a:lnSpc>
              <a:spcBef>
                <a:spcPct val="0"/>
              </a:spcBef>
              <a:spcAft>
                <a:spcPct val="0"/>
              </a:spcAft>
              <a:buClr>
                <a:srgbClr val="DD1D21"/>
              </a:buClr>
              <a:buSzPct val="125000"/>
              <a:buFont typeface="Wingdings 3" pitchFamily="18" charset="2"/>
              <a:buNone/>
              <a:tabLst/>
              <a:defRPr/>
            </a:pPr>
            <a:r>
              <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ＭＳ Ｐゴシック"/>
                <a:cs typeface="+mn-cs"/>
              </a:rPr>
              <a:t>Due to rising and changing mode of crude theft activities, SPDC is currently using Major Projects third party logistics contract to provide equipment (Swamp Buggy, Tug-Boat, Barge and Low Bed trucks)  to support Government Security Agencies (GSA) to take out and crush the illegal refineries within the proximity of our Right of Way (ROW) on our 3 main Trunk lines (TNP, TEP &amp; TRP) with very huge operating cost of FU$11.6m per annum. This was supposed to be ad-hoc activity but from the reality on ground and the negative impact it has had on pipelines availability, it has become an integral part of our Third Party Interference (TPI) Management. </a:t>
            </a:r>
          </a:p>
          <a:p>
            <a:pPr marL="1588" marR="0" lvl="1" indent="0" algn="l" defTabSz="895255" rtl="0" eaLnBrk="1" fontAlgn="base" latinLnBrk="0" hangingPunct="1">
              <a:lnSpc>
                <a:spcPct val="100000"/>
              </a:lnSpc>
              <a:spcBef>
                <a:spcPct val="0"/>
              </a:spcBef>
              <a:spcAft>
                <a:spcPct val="0"/>
              </a:spcAft>
              <a:buClr>
                <a:srgbClr val="DD1D21"/>
              </a:buClr>
              <a:buSzPct val="125000"/>
              <a:buFont typeface="Wingdings 3" pitchFamily="18" charset="2"/>
              <a:buNone/>
              <a:tabLst/>
              <a:defRPr/>
            </a:pPr>
            <a:r>
              <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ＭＳ Ｐゴシック"/>
                <a:cs typeface="+mn-cs"/>
              </a:rPr>
              <a:t>These equipment are provided to the GSA using a Mode 2 Contractor and it currently takes about 30% of Pipelines Security OPEX budget. </a:t>
            </a:r>
          </a:p>
          <a:p>
            <a:pPr marL="1588" marR="0" lvl="1" indent="0" algn="l" defTabSz="895255" rtl="0" eaLnBrk="1" fontAlgn="base" latinLnBrk="0" hangingPunct="1">
              <a:lnSpc>
                <a:spcPct val="100000"/>
              </a:lnSpc>
              <a:spcBef>
                <a:spcPct val="0"/>
              </a:spcBef>
              <a:spcAft>
                <a:spcPct val="0"/>
              </a:spcAft>
              <a:buClr>
                <a:srgbClr val="DD1D21"/>
              </a:buClr>
              <a:buSzPct val="125000"/>
              <a:buFont typeface="Wingdings 3" pitchFamily="18" charset="2"/>
              <a:buNone/>
              <a:tabLst/>
              <a:defRPr/>
            </a:pPr>
            <a:endParaRPr kumimoji="0" lang="en-US" sz="750" b="0" i="0" u="none" strike="noStrike" kern="1200" cap="none" spc="0" normalizeH="0" baseline="0" noProof="0" dirty="0">
              <a:ln>
                <a:noFill/>
              </a:ln>
              <a:solidFill>
                <a:srgbClr val="000000"/>
              </a:solidFill>
              <a:effectLst/>
              <a:uLnTx/>
              <a:uFillTx/>
              <a:latin typeface="ShellMedium" panose="00000600000000000000" pitchFamily="50" charset="0"/>
              <a:ea typeface="ＭＳ Ｐゴシック"/>
              <a:cs typeface="+mn-cs"/>
            </a:endParaRPr>
          </a:p>
          <a:p>
            <a:pPr marL="1588" marR="0" lvl="1" indent="0" algn="l" defTabSz="895255" rtl="0" eaLnBrk="1" fontAlgn="base" latinLnBrk="0" hangingPunct="1">
              <a:lnSpc>
                <a:spcPct val="100000"/>
              </a:lnSpc>
              <a:spcBef>
                <a:spcPct val="0"/>
              </a:spcBef>
              <a:spcAft>
                <a:spcPct val="0"/>
              </a:spcAft>
              <a:buClr>
                <a:srgbClr val="DD1D21"/>
              </a:buClr>
              <a:buSzPct val="125000"/>
              <a:buFont typeface="Wingdings 3" pitchFamily="18" charset="2"/>
              <a:buNone/>
              <a:tabLst/>
              <a:defRPr/>
            </a:pPr>
            <a:endParaRPr kumimoji="0" lang="en-US" sz="75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cs typeface="+mn-cs"/>
            </a:endParaRPr>
          </a:p>
        </p:txBody>
      </p:sp>
      <p:sp>
        <p:nvSpPr>
          <p:cNvPr id="138" name="Rectangle 16"/>
          <p:cNvSpPr>
            <a:spLocks noChangeArrowheads="1"/>
          </p:cNvSpPr>
          <p:nvPr/>
        </p:nvSpPr>
        <p:spPr bwMode="gray">
          <a:xfrm>
            <a:off x="499945" y="3934807"/>
            <a:ext cx="5447090" cy="1625105"/>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ShellMedium" panose="00000600000000000000" pitchFamily="50" charset="0"/>
              <a:ea typeface="ＭＳ Ｐゴシック"/>
              <a:cs typeface="+mn-cs"/>
            </a:endParaRPr>
          </a:p>
        </p:txBody>
      </p:sp>
      <p:sp>
        <p:nvSpPr>
          <p:cNvPr id="1743996" name="Rectangle 124"/>
          <p:cNvSpPr>
            <a:spLocks noChangeArrowheads="1"/>
          </p:cNvSpPr>
          <p:nvPr/>
        </p:nvSpPr>
        <p:spPr bwMode="gray">
          <a:xfrm>
            <a:off x="534086" y="3900094"/>
            <a:ext cx="5447090" cy="200025"/>
          </a:xfrm>
          <a:prstGeom prst="rect">
            <a:avLst/>
          </a:prstGeom>
          <a:solidFill>
            <a:schemeClr val="accent1"/>
          </a:solidFill>
          <a:ln w="9525">
            <a:noFill/>
            <a:miter lim="800000"/>
            <a:headEnd/>
            <a:tailEnd/>
          </a:ln>
          <a:effectLst/>
        </p:spPr>
        <p:txBody>
          <a:bodyPr wrap="square" lIns="73472" tIns="73472" rIns="73472" bIns="73472" anchor="ctr" anchorCtr="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Initiative description </a:t>
            </a:r>
          </a:p>
        </p:txBody>
      </p:sp>
      <p:sp>
        <p:nvSpPr>
          <p:cNvPr id="8" name="TextBox 7"/>
          <p:cNvSpPr txBox="1">
            <a:spLocks/>
          </p:cNvSpPr>
          <p:nvPr>
            <p:custDataLst>
              <p:tags r:id="rId5"/>
            </p:custDataLst>
          </p:nvPr>
        </p:nvSpPr>
        <p:spPr>
          <a:xfrm>
            <a:off x="652243" y="4159283"/>
            <a:ext cx="524055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sz="1568" baseline="0">
                <a:latin typeface="+mn-lt"/>
                <a:ea typeface="Arial Unicode MS" pitchFamily="34" charset="-128"/>
                <a:cs typeface="Arial Unicode MS" pitchFamily="34" charset="-128"/>
              </a:defRPr>
            </a:lvl1pPr>
            <a:lvl2pPr marL="193655" lvl="1" indent="-192067" defTabSz="895255" eaLnBrk="1" hangingPunct="1">
              <a:buClr>
                <a:schemeClr val="tx2"/>
              </a:buClr>
              <a:buSzPct val="125000"/>
              <a:buFont typeface="Arial" charset="0"/>
              <a:buChar char="▪"/>
              <a:defRPr sz="1568" baseline="0">
                <a:latin typeface="+mn-lt"/>
                <a:ea typeface="Arial Unicode MS" pitchFamily="34" charset="-128"/>
                <a:cs typeface="Arial Unicode MS" pitchFamily="34" charset="-128"/>
              </a:defRPr>
            </a:lvl2pPr>
            <a:lvl3pPr marL="457151" lvl="2" indent="-261910"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3pPr>
            <a:lvl4pPr marL="614298" lvl="3" indent="-155558"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4pPr>
            <a:lvl5pPr marL="749728" lvl="4" indent="-130162" defTabSz="895255" eaLnBrk="1" hangingPunct="1">
              <a:buClr>
                <a:schemeClr val="tx2"/>
              </a:buClr>
              <a:buSzPct val="89000"/>
              <a:buFont typeface="Arial" charset="0"/>
              <a:buChar char="-"/>
              <a:defRPr sz="1568" baseline="0">
                <a:latin typeface="+mn-lt"/>
                <a:ea typeface="Arial Unicode MS" pitchFamily="34" charset="-128"/>
                <a:cs typeface="Arial Unicode MS" pitchFamily="34" charset="-128"/>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marL="1588" marR="0" lvl="1" indent="0" algn="l" defTabSz="895255" rtl="0" eaLnBrk="1" fontAlgn="base" latinLnBrk="0" hangingPunct="1">
              <a:lnSpc>
                <a:spcPct val="100000"/>
              </a:lnSpc>
              <a:spcBef>
                <a:spcPct val="0"/>
              </a:spcBef>
              <a:spcAft>
                <a:spcPct val="0"/>
              </a:spcAft>
              <a:buClr>
                <a:srgbClr val="DD1D21"/>
              </a:buClr>
              <a:buSzPct val="125000"/>
              <a:buFont typeface="Arial" charset="0"/>
              <a:buNone/>
              <a:tabLst/>
              <a:defRPr/>
            </a:pPr>
            <a:r>
              <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The intent of the initiative is to change the contract for the supply of these logistics equipment from the current Major Project Contract to Pipelines Pigging Contract. </a:t>
            </a:r>
          </a:p>
          <a:p>
            <a:pPr marL="1588" marR="0" lvl="1" indent="0" algn="l" defTabSz="895255" rtl="0" eaLnBrk="1" fontAlgn="base" latinLnBrk="0" hangingPunct="1">
              <a:lnSpc>
                <a:spcPct val="100000"/>
              </a:lnSpc>
              <a:spcBef>
                <a:spcPct val="0"/>
              </a:spcBef>
              <a:spcAft>
                <a:spcPct val="0"/>
              </a:spcAft>
              <a:buClr>
                <a:srgbClr val="DD1D21"/>
              </a:buClr>
              <a:buSzPct val="125000"/>
              <a:buFont typeface="Arial" charset="0"/>
              <a:buNone/>
              <a:tabLst/>
              <a:defRPr/>
            </a:pPr>
            <a:r>
              <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This will bring down the OPEX by about 52% of the current cost (F$11.6m)</a:t>
            </a:r>
          </a:p>
        </p:txBody>
      </p:sp>
      <p:sp>
        <p:nvSpPr>
          <p:cNvPr id="2" name="TextBox 1">
            <a:extLst>
              <a:ext uri="{FF2B5EF4-FFF2-40B4-BE49-F238E27FC236}">
                <a16:creationId xmlns:a16="http://schemas.microsoft.com/office/drawing/2014/main" id="{ED23532E-227F-48C0-B5BA-89D002510260}"/>
              </a:ext>
            </a:extLst>
          </p:cNvPr>
          <p:cNvSpPr txBox="1"/>
          <p:nvPr/>
        </p:nvSpPr>
        <p:spPr>
          <a:xfrm>
            <a:off x="535013" y="2046288"/>
            <a:ext cx="321559" cy="2460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DD1D21"/>
              </a:buClr>
              <a:buSzTx/>
              <a:buFontTx/>
              <a:buNone/>
              <a:tabLst/>
              <a:defRPr/>
            </a:pPr>
            <a:endParaRPr kumimoji="0" lang="en-US" sz="1800" b="0" i="0" u="none" strike="noStrike" kern="1200" cap="none" spc="0" normalizeH="0" baseline="0" noProof="0" dirty="0">
              <a:ln>
                <a:noFill/>
              </a:ln>
              <a:solidFill>
                <a:srgbClr val="595959"/>
              </a:solidFill>
              <a:effectLst/>
              <a:uLnTx/>
              <a:uFillTx/>
              <a:latin typeface="ShellMedium" panose="00000600000000000000" pitchFamily="50" charset="0"/>
              <a:ea typeface="Arial Unicode MS" pitchFamily="34" charset="-128"/>
            </a:endParaRPr>
          </a:p>
        </p:txBody>
      </p:sp>
      <p:sp>
        <p:nvSpPr>
          <p:cNvPr id="100" name="Rectangle 16">
            <a:extLst>
              <a:ext uri="{FF2B5EF4-FFF2-40B4-BE49-F238E27FC236}">
                <a16:creationId xmlns:a16="http://schemas.microsoft.com/office/drawing/2014/main" id="{CC2F663F-3651-49AD-9791-910ABD85C060}"/>
              </a:ext>
            </a:extLst>
          </p:cNvPr>
          <p:cNvSpPr>
            <a:spLocks noChangeArrowheads="1"/>
          </p:cNvSpPr>
          <p:nvPr/>
        </p:nvSpPr>
        <p:spPr bwMode="gray">
          <a:xfrm>
            <a:off x="534086" y="5575893"/>
            <a:ext cx="5447090" cy="1210670"/>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ShellMedium" panose="00000600000000000000" pitchFamily="50" charset="0"/>
              <a:ea typeface="ＭＳ Ｐゴシック"/>
              <a:cs typeface="+mn-cs"/>
            </a:endParaRPr>
          </a:p>
        </p:txBody>
      </p:sp>
      <p:sp>
        <p:nvSpPr>
          <p:cNvPr id="101" name="Rectangle 124">
            <a:extLst>
              <a:ext uri="{FF2B5EF4-FFF2-40B4-BE49-F238E27FC236}">
                <a16:creationId xmlns:a16="http://schemas.microsoft.com/office/drawing/2014/main" id="{7E4EAE68-6360-44B4-9812-5638262F8212}"/>
              </a:ext>
            </a:extLst>
          </p:cNvPr>
          <p:cNvSpPr>
            <a:spLocks noChangeArrowheads="1"/>
          </p:cNvSpPr>
          <p:nvPr/>
        </p:nvSpPr>
        <p:spPr bwMode="gray">
          <a:xfrm>
            <a:off x="534086" y="5575893"/>
            <a:ext cx="5447090" cy="200025"/>
          </a:xfrm>
          <a:prstGeom prst="rect">
            <a:avLst/>
          </a:prstGeom>
          <a:solidFill>
            <a:schemeClr val="accent1"/>
          </a:solidFill>
          <a:ln w="9525">
            <a:noFill/>
            <a:miter lim="800000"/>
            <a:headEnd/>
            <a:tailEnd/>
          </a:ln>
          <a:effectLst/>
        </p:spPr>
        <p:txBody>
          <a:bodyPr wrap="square" lIns="73472" tIns="73472" rIns="73472" bIns="73472" anchor="ctr" anchorCtr="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Estimate impact  </a:t>
            </a:r>
          </a:p>
        </p:txBody>
      </p:sp>
      <p:sp>
        <p:nvSpPr>
          <p:cNvPr id="1743936" name="Rectangle 64"/>
          <p:cNvSpPr>
            <a:spLocks noChangeArrowheads="1"/>
          </p:cNvSpPr>
          <p:nvPr/>
        </p:nvSpPr>
        <p:spPr bwMode="gray">
          <a:xfrm>
            <a:off x="1276420" y="1363663"/>
            <a:ext cx="343884" cy="149225"/>
          </a:xfrm>
          <a:prstGeom prst="rect">
            <a:avLst/>
          </a:prstGeom>
          <a:noFill/>
          <a:ln w="9525">
            <a:noFill/>
            <a:miter lim="800000"/>
            <a:headEnd/>
            <a:tailEnd/>
          </a:ln>
          <a:effectLst/>
        </p:spPr>
        <p:txBody>
          <a:bodyPr wrap="none" lIns="0" tIns="0" rIns="0" bIns="0">
            <a:noAutofit/>
          </a:bodyPr>
          <a:lstStyle/>
          <a:p>
            <a:pPr marL="0" marR="0" lvl="0" indent="0" algn="l" defTabSz="932071" rtl="0" eaLnBrk="1" fontAlgn="base" latinLnBrk="0" hangingPunct="1">
              <a:lnSpc>
                <a:spcPct val="100000"/>
              </a:lnSpc>
              <a:spcBef>
                <a:spcPct val="0"/>
              </a:spcBef>
              <a:spcAft>
                <a:spcPct val="0"/>
              </a:spcAft>
              <a:buClrTx/>
              <a:buSzPct val="120000"/>
              <a:buFontTx/>
              <a:buNone/>
              <a:tabLst/>
              <a:defRPr/>
            </a:pPr>
            <a:r>
              <a:rPr kumimoji="0" lang="de-DE" sz="105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mn-cs"/>
              </a:rPr>
              <a:t>TBD</a:t>
            </a:r>
            <a:endParaRPr kumimoji="0" lang="en-US" sz="105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mn-cs"/>
            </a:endParaRPr>
          </a:p>
        </p:txBody>
      </p:sp>
      <p:sp>
        <p:nvSpPr>
          <p:cNvPr id="1743937" name="Rectangle 65"/>
          <p:cNvSpPr>
            <a:spLocks noChangeArrowheads="1"/>
          </p:cNvSpPr>
          <p:nvPr/>
        </p:nvSpPr>
        <p:spPr bwMode="gray">
          <a:xfrm>
            <a:off x="601442" y="1363663"/>
            <a:ext cx="460062" cy="161583"/>
          </a:xfrm>
          <a:prstGeom prst="rect">
            <a:avLst/>
          </a:prstGeom>
          <a:noFill/>
          <a:ln w="9525">
            <a:noFill/>
            <a:miter lim="800000"/>
            <a:headEnd/>
            <a:tailEnd/>
          </a:ln>
          <a:effectLst/>
        </p:spPr>
        <p:txBody>
          <a:bodyPr wrap="none" lIns="0" tIns="0" rIns="0" bIns="0">
            <a:sp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FIT4 ID</a:t>
            </a:r>
          </a:p>
        </p:txBody>
      </p:sp>
      <p:sp>
        <p:nvSpPr>
          <p:cNvPr id="217" name="Rectangle 49"/>
          <p:cNvSpPr>
            <a:spLocks noChangeArrowheads="1"/>
          </p:cNvSpPr>
          <p:nvPr/>
        </p:nvSpPr>
        <p:spPr bwMode="gray">
          <a:xfrm>
            <a:off x="2436536" y="1731432"/>
            <a:ext cx="567364" cy="152400"/>
          </a:xfrm>
          <a:prstGeom prst="rect">
            <a:avLst/>
          </a:prstGeom>
          <a:noFill/>
          <a:ln w="9525">
            <a:noFill/>
            <a:miter lim="800000"/>
            <a:headEnd/>
            <a:tailEnd/>
          </a:ln>
          <a:effectLst/>
        </p:spPr>
        <p:txBody>
          <a:bodyPr wrap="non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Location(s)</a:t>
            </a:r>
          </a:p>
        </p:txBody>
      </p:sp>
      <p:sp>
        <p:nvSpPr>
          <p:cNvPr id="218" name="Rectangle 49"/>
          <p:cNvSpPr>
            <a:spLocks noChangeArrowheads="1"/>
          </p:cNvSpPr>
          <p:nvPr/>
        </p:nvSpPr>
        <p:spPr bwMode="gray">
          <a:xfrm>
            <a:off x="3820581" y="1731432"/>
            <a:ext cx="1690014" cy="152400"/>
          </a:xfrm>
          <a:prstGeom prst="rect">
            <a:avLst/>
          </a:prstGeom>
          <a:noFill/>
          <a:ln w="9525">
            <a:noFill/>
            <a:miter lim="800000"/>
            <a:headEnd/>
            <a:tailEnd/>
          </a:ln>
          <a:effectLst/>
        </p:spPr>
        <p:txBody>
          <a:bodyPr wrap="non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80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mn-cs"/>
              </a:rPr>
              <a:t>Pipelines – TNP, TEP &amp; TRP  </a:t>
            </a:r>
          </a:p>
        </p:txBody>
      </p:sp>
      <p:sp>
        <p:nvSpPr>
          <p:cNvPr id="225" name="Rectangle 43"/>
          <p:cNvSpPr>
            <a:spLocks noChangeArrowheads="1"/>
          </p:cNvSpPr>
          <p:nvPr/>
        </p:nvSpPr>
        <p:spPr bwMode="gray">
          <a:xfrm>
            <a:off x="2436536" y="1363663"/>
            <a:ext cx="828753" cy="161583"/>
          </a:xfrm>
          <a:prstGeom prst="rect">
            <a:avLst/>
          </a:prstGeom>
          <a:noFill/>
          <a:ln w="9525">
            <a:noFill/>
            <a:miter lim="800000"/>
            <a:headEnd/>
            <a:tailEnd/>
          </a:ln>
          <a:effectLst/>
        </p:spPr>
        <p:txBody>
          <a:bodyPr wrap="none" lIns="0" tIns="0" rIns="0" bIns="0">
            <a:sp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err="1">
                <a:ln>
                  <a:noFill/>
                </a:ln>
                <a:solidFill>
                  <a:srgbClr val="DD1D21"/>
                </a:solidFill>
                <a:effectLst/>
                <a:uLnTx/>
                <a:uFillTx/>
                <a:latin typeface="ShellMedium" panose="00000600000000000000" pitchFamily="50" charset="0"/>
                <a:ea typeface="ＭＳ Ｐゴシック"/>
                <a:cs typeface="+mn-cs"/>
              </a:rPr>
              <a:t>Workstream</a:t>
            </a:r>
            <a:r>
              <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 </a:t>
            </a:r>
          </a:p>
        </p:txBody>
      </p:sp>
      <p:sp>
        <p:nvSpPr>
          <p:cNvPr id="226" name="Rectangle 45"/>
          <p:cNvSpPr>
            <a:spLocks noChangeArrowheads="1"/>
          </p:cNvSpPr>
          <p:nvPr/>
        </p:nvSpPr>
        <p:spPr bwMode="gray">
          <a:xfrm>
            <a:off x="3840901" y="1363663"/>
            <a:ext cx="565861" cy="161583"/>
          </a:xfrm>
          <a:prstGeom prst="rect">
            <a:avLst/>
          </a:prstGeom>
          <a:noFill/>
          <a:ln w="9525">
            <a:noFill/>
            <a:miter lim="800000"/>
            <a:headEnd/>
            <a:tailEnd/>
          </a:ln>
          <a:effectLst/>
        </p:spPr>
        <p:txBody>
          <a:bodyPr wrap="none" lIns="0" tIns="0" rIns="0" bIns="0">
            <a:sp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mn-cs"/>
              </a:rPr>
              <a:t>Security  </a:t>
            </a:r>
          </a:p>
        </p:txBody>
      </p:sp>
      <p:sp>
        <p:nvSpPr>
          <p:cNvPr id="44" name="Rectangle 16">
            <a:extLst>
              <a:ext uri="{FF2B5EF4-FFF2-40B4-BE49-F238E27FC236}">
                <a16:creationId xmlns:a16="http://schemas.microsoft.com/office/drawing/2014/main" id="{83D60BBF-628E-4E7A-A052-C29BE8ACE120}"/>
              </a:ext>
            </a:extLst>
          </p:cNvPr>
          <p:cNvSpPr>
            <a:spLocks noChangeArrowheads="1"/>
          </p:cNvSpPr>
          <p:nvPr/>
        </p:nvSpPr>
        <p:spPr bwMode="gray">
          <a:xfrm>
            <a:off x="6096000" y="2255013"/>
            <a:ext cx="5600700" cy="1459655"/>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ShellMedium" panose="00000600000000000000" pitchFamily="50" charset="0"/>
              <a:ea typeface="ＭＳ Ｐゴシック"/>
              <a:cs typeface="+mn-cs"/>
            </a:endParaRPr>
          </a:p>
        </p:txBody>
      </p:sp>
      <p:sp>
        <p:nvSpPr>
          <p:cNvPr id="45" name="Rectangle 19">
            <a:extLst>
              <a:ext uri="{FF2B5EF4-FFF2-40B4-BE49-F238E27FC236}">
                <a16:creationId xmlns:a16="http://schemas.microsoft.com/office/drawing/2014/main" id="{1FABA5AD-8970-471A-9DD6-064A3CE9F09D}"/>
              </a:ext>
            </a:extLst>
          </p:cNvPr>
          <p:cNvSpPr>
            <a:spLocks noChangeArrowheads="1"/>
          </p:cNvSpPr>
          <p:nvPr/>
        </p:nvSpPr>
        <p:spPr bwMode="gray">
          <a:xfrm>
            <a:off x="6096000" y="2046289"/>
            <a:ext cx="5600700" cy="200025"/>
          </a:xfrm>
          <a:prstGeom prst="rect">
            <a:avLst/>
          </a:prstGeom>
          <a:solidFill>
            <a:schemeClr val="accent1"/>
          </a:solidFill>
          <a:ln w="9525">
            <a:noFill/>
            <a:miter lim="800000"/>
            <a:headEnd/>
            <a:tailEnd/>
          </a:ln>
          <a:effectLst/>
        </p:spPr>
        <p:txBody>
          <a:bodyPr wrap="square" lIns="73472" tIns="73472" rIns="73472" bIns="73472" anchor="ctr" anchorCtr="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Key stakeholders </a:t>
            </a:r>
          </a:p>
        </p:txBody>
      </p:sp>
      <p:sp>
        <p:nvSpPr>
          <p:cNvPr id="47" name="Rectangle 16">
            <a:extLst>
              <a:ext uri="{FF2B5EF4-FFF2-40B4-BE49-F238E27FC236}">
                <a16:creationId xmlns:a16="http://schemas.microsoft.com/office/drawing/2014/main" id="{A3747DDC-B846-4916-8564-E50B55B28C62}"/>
              </a:ext>
            </a:extLst>
          </p:cNvPr>
          <p:cNvSpPr>
            <a:spLocks noChangeArrowheads="1"/>
          </p:cNvSpPr>
          <p:nvPr/>
        </p:nvSpPr>
        <p:spPr bwMode="gray">
          <a:xfrm>
            <a:off x="6096000" y="3807849"/>
            <a:ext cx="5600700" cy="1625105"/>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ShellMedium" panose="00000600000000000000" pitchFamily="50" charset="0"/>
              <a:ea typeface="ＭＳ Ｐゴシック"/>
              <a:cs typeface="+mn-cs"/>
            </a:endParaRPr>
          </a:p>
        </p:txBody>
      </p:sp>
      <p:sp>
        <p:nvSpPr>
          <p:cNvPr id="48" name="Rectangle 124">
            <a:extLst>
              <a:ext uri="{FF2B5EF4-FFF2-40B4-BE49-F238E27FC236}">
                <a16:creationId xmlns:a16="http://schemas.microsoft.com/office/drawing/2014/main" id="{F21687E4-F931-4925-8F90-38CF8B98229F}"/>
              </a:ext>
            </a:extLst>
          </p:cNvPr>
          <p:cNvSpPr>
            <a:spLocks noChangeArrowheads="1"/>
          </p:cNvSpPr>
          <p:nvPr/>
        </p:nvSpPr>
        <p:spPr bwMode="gray">
          <a:xfrm>
            <a:off x="6096000" y="3807849"/>
            <a:ext cx="5600700" cy="235090"/>
          </a:xfrm>
          <a:prstGeom prst="rect">
            <a:avLst/>
          </a:prstGeom>
          <a:solidFill>
            <a:schemeClr val="accent1"/>
          </a:solidFill>
          <a:ln w="9525">
            <a:noFill/>
            <a:miter lim="800000"/>
            <a:headEnd/>
            <a:tailEnd/>
          </a:ln>
          <a:effectLst/>
        </p:spPr>
        <p:txBody>
          <a:bodyPr wrap="square" lIns="73472" tIns="73472" rIns="73472" bIns="73472" anchor="ctr" anchorCtr="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Decisions needed to mature </a:t>
            </a:r>
          </a:p>
        </p:txBody>
      </p:sp>
      <p:sp>
        <p:nvSpPr>
          <p:cNvPr id="50" name="TextBox 49">
            <a:extLst>
              <a:ext uri="{FF2B5EF4-FFF2-40B4-BE49-F238E27FC236}">
                <a16:creationId xmlns:a16="http://schemas.microsoft.com/office/drawing/2014/main" id="{49148EB7-238B-492F-A468-6278FBB56D07}"/>
              </a:ext>
            </a:extLst>
          </p:cNvPr>
          <p:cNvSpPr txBox="1"/>
          <p:nvPr/>
        </p:nvSpPr>
        <p:spPr>
          <a:xfrm>
            <a:off x="6096953" y="2046288"/>
            <a:ext cx="330627" cy="2460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DD1D21"/>
              </a:buClr>
              <a:buSzTx/>
              <a:buFontTx/>
              <a:buNone/>
              <a:tabLst/>
              <a:defRPr/>
            </a:pPr>
            <a:endParaRPr kumimoji="0" lang="en-US" sz="1800" b="0" i="0" u="none" strike="noStrike" kern="1200" cap="none" spc="0" normalizeH="0" baseline="0" noProof="0" dirty="0">
              <a:ln>
                <a:noFill/>
              </a:ln>
              <a:solidFill>
                <a:srgbClr val="595959"/>
              </a:solidFill>
              <a:effectLst/>
              <a:uLnTx/>
              <a:uFillTx/>
              <a:latin typeface="ShellMedium" panose="00000600000000000000" pitchFamily="50" charset="0"/>
              <a:ea typeface="Arial Unicode MS" pitchFamily="34" charset="-128"/>
            </a:endParaRPr>
          </a:p>
        </p:txBody>
      </p:sp>
      <p:sp>
        <p:nvSpPr>
          <p:cNvPr id="51" name="Rectangle 16">
            <a:extLst>
              <a:ext uri="{FF2B5EF4-FFF2-40B4-BE49-F238E27FC236}">
                <a16:creationId xmlns:a16="http://schemas.microsoft.com/office/drawing/2014/main" id="{92926486-D9D1-4289-B0F8-155090D7D5A7}"/>
              </a:ext>
            </a:extLst>
          </p:cNvPr>
          <p:cNvSpPr>
            <a:spLocks noChangeArrowheads="1"/>
          </p:cNvSpPr>
          <p:nvPr/>
        </p:nvSpPr>
        <p:spPr bwMode="gray">
          <a:xfrm>
            <a:off x="6096000" y="5518715"/>
            <a:ext cx="5600700" cy="1210670"/>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ShellMedium" panose="00000600000000000000" pitchFamily="50" charset="0"/>
              <a:ea typeface="ＭＳ Ｐゴシック"/>
              <a:cs typeface="+mn-cs"/>
            </a:endParaRPr>
          </a:p>
        </p:txBody>
      </p:sp>
      <p:sp>
        <p:nvSpPr>
          <p:cNvPr id="52" name="Rectangle 124">
            <a:extLst>
              <a:ext uri="{FF2B5EF4-FFF2-40B4-BE49-F238E27FC236}">
                <a16:creationId xmlns:a16="http://schemas.microsoft.com/office/drawing/2014/main" id="{3A99A07B-4BDE-4710-A0E3-F8E92099E444}"/>
              </a:ext>
            </a:extLst>
          </p:cNvPr>
          <p:cNvSpPr>
            <a:spLocks noChangeArrowheads="1"/>
          </p:cNvSpPr>
          <p:nvPr/>
        </p:nvSpPr>
        <p:spPr bwMode="gray">
          <a:xfrm>
            <a:off x="6096000" y="5518715"/>
            <a:ext cx="5600700" cy="200025"/>
          </a:xfrm>
          <a:prstGeom prst="rect">
            <a:avLst/>
          </a:prstGeom>
          <a:solidFill>
            <a:schemeClr val="accent1"/>
          </a:solidFill>
          <a:ln w="9525">
            <a:noFill/>
            <a:miter lim="800000"/>
            <a:headEnd/>
            <a:tailEnd/>
          </a:ln>
          <a:effectLst/>
        </p:spPr>
        <p:txBody>
          <a:bodyPr wrap="square" lIns="73472" tIns="73472" rIns="73472" bIns="73472" anchor="ctr" anchorCtr="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What does success look like at the end of the 3 week sprint </a:t>
            </a:r>
          </a:p>
        </p:txBody>
      </p:sp>
      <p:sp>
        <p:nvSpPr>
          <p:cNvPr id="41" name="TextBox 40">
            <a:extLst>
              <a:ext uri="{FF2B5EF4-FFF2-40B4-BE49-F238E27FC236}">
                <a16:creationId xmlns:a16="http://schemas.microsoft.com/office/drawing/2014/main" id="{B5E75627-BBA9-4BB7-9D35-A6FAFCCACA0B}"/>
              </a:ext>
            </a:extLst>
          </p:cNvPr>
          <p:cNvSpPr txBox="1">
            <a:spLocks/>
          </p:cNvSpPr>
          <p:nvPr>
            <p:custDataLst>
              <p:tags r:id="rId6"/>
            </p:custDataLst>
          </p:nvPr>
        </p:nvSpPr>
        <p:spPr>
          <a:xfrm>
            <a:off x="601442" y="5861679"/>
            <a:ext cx="524055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sz="1568" baseline="0">
                <a:latin typeface="+mn-lt"/>
                <a:ea typeface="Arial Unicode MS" pitchFamily="34" charset="-128"/>
                <a:cs typeface="Arial Unicode MS" pitchFamily="34" charset="-128"/>
              </a:defRPr>
            </a:lvl1pPr>
            <a:lvl2pPr marL="193655" lvl="1" indent="-192067" defTabSz="895255" eaLnBrk="1" hangingPunct="1">
              <a:buClr>
                <a:schemeClr val="tx2"/>
              </a:buClr>
              <a:buSzPct val="125000"/>
              <a:buFont typeface="Arial" charset="0"/>
              <a:buChar char="▪"/>
              <a:defRPr sz="1568" baseline="0">
                <a:latin typeface="+mn-lt"/>
                <a:ea typeface="Arial Unicode MS" pitchFamily="34" charset="-128"/>
                <a:cs typeface="Arial Unicode MS" pitchFamily="34" charset="-128"/>
              </a:defRPr>
            </a:lvl2pPr>
            <a:lvl3pPr marL="457151" lvl="2" indent="-261910"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3pPr>
            <a:lvl4pPr marL="614298" lvl="3" indent="-155558"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4pPr>
            <a:lvl5pPr marL="749728" lvl="4" indent="-130162" defTabSz="895255" eaLnBrk="1" hangingPunct="1">
              <a:buClr>
                <a:schemeClr val="tx2"/>
              </a:buClr>
              <a:buSzPct val="89000"/>
              <a:buFont typeface="Arial" charset="0"/>
              <a:buChar char="-"/>
              <a:defRPr sz="1568" baseline="0">
                <a:latin typeface="+mn-lt"/>
                <a:ea typeface="Arial Unicode MS" pitchFamily="34" charset="-128"/>
                <a:cs typeface="Arial Unicode MS" pitchFamily="34" charset="-128"/>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marL="1588" marR="0" lvl="1" indent="0" algn="l" defTabSz="895255" rtl="0" eaLnBrk="1" fontAlgn="base" latinLnBrk="0" hangingPunct="1">
              <a:lnSpc>
                <a:spcPct val="100000"/>
              </a:lnSpc>
              <a:spcBef>
                <a:spcPct val="0"/>
              </a:spcBef>
              <a:spcAft>
                <a:spcPct val="0"/>
              </a:spcAft>
              <a:buClr>
                <a:srgbClr val="DD1D21"/>
              </a:buClr>
              <a:buSzPct val="125000"/>
              <a:buFont typeface="Arial" charset="0"/>
              <a:buNone/>
              <a:tabLst/>
              <a:defRPr/>
            </a:pPr>
            <a:r>
              <a:rPr kumimoji="0" lang="en-US" sz="1000" b="1"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High level assumptions </a:t>
            </a:r>
          </a:p>
          <a:p>
            <a:pPr marL="1588" marR="0" lvl="1" indent="0" algn="l" defTabSz="895255" rtl="0" eaLnBrk="1" fontAlgn="base" latinLnBrk="0" hangingPunct="1">
              <a:lnSpc>
                <a:spcPct val="100000"/>
              </a:lnSpc>
              <a:spcBef>
                <a:spcPct val="0"/>
              </a:spcBef>
              <a:spcAft>
                <a:spcPct val="0"/>
              </a:spcAft>
              <a:buClr>
                <a:srgbClr val="DD1D21"/>
              </a:buClr>
              <a:buSzPct val="125000"/>
              <a:buFont typeface="Arial" charset="0"/>
              <a:buNone/>
              <a:tabLst/>
              <a:defRPr/>
            </a:pPr>
            <a:r>
              <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 Current cost is F$11.6m per annum. </a:t>
            </a:r>
          </a:p>
          <a:p>
            <a:pPr marL="193655" marR="0" lvl="1" indent="-192067" algn="l" defTabSz="895255" rtl="0" eaLnBrk="1" fontAlgn="base" latinLnBrk="0" hangingPunct="1">
              <a:lnSpc>
                <a:spcPct val="100000"/>
              </a:lnSpc>
              <a:spcBef>
                <a:spcPct val="0"/>
              </a:spcBef>
              <a:spcAft>
                <a:spcPct val="0"/>
              </a:spcAft>
              <a:buClr>
                <a:srgbClr val="DD1D21"/>
              </a:buClr>
              <a:buSzPct val="125000"/>
              <a:buFontTx/>
              <a:buChar char="-"/>
              <a:tabLst/>
              <a:defRPr/>
            </a:pPr>
            <a:r>
              <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Forecast is 52% reduction of F$11.6m  = F$6.0m per annum.</a:t>
            </a:r>
          </a:p>
          <a:p>
            <a:pPr marL="1588" marR="0" lvl="1" indent="0" algn="l" defTabSz="895255" rtl="0" eaLnBrk="1" fontAlgn="base" latinLnBrk="0" hangingPunct="1">
              <a:lnSpc>
                <a:spcPct val="100000"/>
              </a:lnSpc>
              <a:spcBef>
                <a:spcPct val="0"/>
              </a:spcBef>
              <a:spcAft>
                <a:spcPct val="0"/>
              </a:spcAft>
              <a:buClr>
                <a:srgbClr val="DD1D21"/>
              </a:buClr>
              <a:buSzPct val="125000"/>
              <a:buFont typeface="Arial" charset="0"/>
              <a:buNone/>
              <a:tabLst/>
              <a:defRPr/>
            </a:pPr>
            <a:r>
              <a:rPr kumimoji="0" lang="en-US" sz="1000" b="0" i="0" u="none" strike="noStrike" kern="1200" cap="none" spc="0" normalizeH="0" baseline="0" noProof="0" dirty="0">
                <a:ln>
                  <a:noFill/>
                </a:ln>
                <a:solidFill>
                  <a:srgbClr val="FF0000"/>
                </a:solidFill>
                <a:effectLst/>
                <a:uLnTx/>
                <a:uFillTx/>
                <a:latin typeface="ShellMedium" panose="00000600000000000000" pitchFamily="50" charset="0"/>
                <a:ea typeface="Arial Unicode MS" pitchFamily="34" charset="-128"/>
              </a:rPr>
              <a:t>Remark</a:t>
            </a:r>
            <a:r>
              <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 The associated risk still resides with SPDC.  </a:t>
            </a:r>
            <a:r>
              <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panose="020B0600070205080204" pitchFamily="34" charset="-128"/>
                <a:cs typeface="+mn-cs"/>
              </a:rPr>
              <a:t> </a:t>
            </a:r>
            <a:endParaRPr kumimoji="0" lang="en-US" sz="1050" b="0" i="0" u="none" strike="noStrike" kern="1200" cap="none" spc="0" normalizeH="0" baseline="0" noProof="0" dirty="0">
              <a:ln>
                <a:noFill/>
              </a:ln>
              <a:solidFill>
                <a:srgbClr val="595959"/>
              </a:solidFill>
              <a:effectLst/>
              <a:uLnTx/>
              <a:uFillTx/>
              <a:latin typeface="ShellMedium" panose="00000600000000000000" pitchFamily="50" charset="0"/>
              <a:ea typeface="Arial Unicode MS" pitchFamily="34" charset="-128"/>
            </a:endParaRPr>
          </a:p>
        </p:txBody>
      </p:sp>
      <p:sp>
        <p:nvSpPr>
          <p:cNvPr id="42" name="TextBox 41">
            <a:extLst>
              <a:ext uri="{FF2B5EF4-FFF2-40B4-BE49-F238E27FC236}">
                <a16:creationId xmlns:a16="http://schemas.microsoft.com/office/drawing/2014/main" id="{95EC0375-843F-4703-B5BB-E61465E18617}"/>
              </a:ext>
            </a:extLst>
          </p:cNvPr>
          <p:cNvSpPr txBox="1">
            <a:spLocks/>
          </p:cNvSpPr>
          <p:nvPr>
            <p:custDataLst>
              <p:tags r:id="rId7"/>
            </p:custDataLst>
          </p:nvPr>
        </p:nvSpPr>
        <p:spPr>
          <a:xfrm>
            <a:off x="6157770" y="2301132"/>
            <a:ext cx="5432787" cy="6979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sz="1568" baseline="0">
                <a:latin typeface="+mn-lt"/>
                <a:ea typeface="Arial Unicode MS" pitchFamily="34" charset="-128"/>
                <a:cs typeface="Arial Unicode MS" pitchFamily="34" charset="-128"/>
              </a:defRPr>
            </a:lvl1pPr>
            <a:lvl2pPr marL="193655" lvl="1" indent="-192067" defTabSz="895255" eaLnBrk="1" hangingPunct="1">
              <a:buClr>
                <a:schemeClr val="tx2"/>
              </a:buClr>
              <a:buSzPct val="125000"/>
              <a:buFont typeface="Arial" charset="0"/>
              <a:buChar char="▪"/>
              <a:defRPr sz="1568" baseline="0">
                <a:latin typeface="+mn-lt"/>
                <a:ea typeface="Arial Unicode MS" pitchFamily="34" charset="-128"/>
                <a:cs typeface="Arial Unicode MS" pitchFamily="34" charset="-128"/>
              </a:defRPr>
            </a:lvl2pPr>
            <a:lvl3pPr marL="457151" lvl="2" indent="-261910"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3pPr>
            <a:lvl4pPr marL="614298" lvl="3" indent="-155558"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4pPr>
            <a:lvl5pPr marL="749728" lvl="4" indent="-130162" defTabSz="895255" eaLnBrk="1" hangingPunct="1">
              <a:buClr>
                <a:schemeClr val="tx2"/>
              </a:buClr>
              <a:buSzPct val="89000"/>
              <a:buFont typeface="Arial" charset="0"/>
              <a:buChar char="-"/>
              <a:defRPr sz="1568" baseline="0">
                <a:latin typeface="+mn-lt"/>
                <a:ea typeface="Arial Unicode MS" pitchFamily="34" charset="-128"/>
                <a:cs typeface="Arial Unicode MS" pitchFamily="34" charset="-128"/>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marL="0" marR="0" lvl="1" indent="-192067" algn="l" defTabSz="914400" rtl="0" eaLnBrk="1" fontAlgn="base" latinLnBrk="0" hangingPunct="1">
              <a:lnSpc>
                <a:spcPct val="100000"/>
              </a:lnSpc>
              <a:spcBef>
                <a:spcPts val="300"/>
              </a:spcBef>
              <a:spcAft>
                <a:spcPct val="0"/>
              </a:spcAft>
              <a:buClr>
                <a:srgbClr val="DD1D21"/>
              </a:buClr>
              <a:buSzPct val="125000"/>
              <a:buFont typeface="Arial" charset="0"/>
              <a:buChar char="▪"/>
              <a:tabLst/>
              <a:defRPr/>
            </a:pPr>
            <a:r>
              <a:rPr kumimoji="0" lang="en-US" altLang="en-US" sz="1000" b="1"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Project Sponsor:</a:t>
            </a:r>
            <a:r>
              <a:rPr kumimoji="0" lang="en-US" alt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  Steve Jones </a:t>
            </a:r>
          </a:p>
          <a:p>
            <a:pPr marL="0" marR="0" lvl="1" indent="-192067" algn="l" defTabSz="914400" rtl="0" eaLnBrk="1" fontAlgn="base" latinLnBrk="0" hangingPunct="1">
              <a:lnSpc>
                <a:spcPct val="100000"/>
              </a:lnSpc>
              <a:spcBef>
                <a:spcPts val="300"/>
              </a:spcBef>
              <a:spcAft>
                <a:spcPct val="0"/>
              </a:spcAft>
              <a:buClr>
                <a:srgbClr val="DD1D21"/>
              </a:buClr>
              <a:buSzPct val="125000"/>
              <a:buFont typeface="Arial" charset="0"/>
              <a:buChar char="▪"/>
              <a:tabLst/>
              <a:defRPr/>
            </a:pPr>
            <a:r>
              <a:rPr kumimoji="0" lang="en-US" altLang="en-US" sz="1000" b="1"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Implementation Lead: Henry Unobukwu </a:t>
            </a:r>
            <a:endParaRPr kumimoji="0" lang="en-US" alt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endParaRPr>
          </a:p>
          <a:p>
            <a:pPr marL="0" marR="0" lvl="1" indent="-192067" algn="l" defTabSz="914400" rtl="0" eaLnBrk="1" fontAlgn="base" latinLnBrk="0" hangingPunct="1">
              <a:lnSpc>
                <a:spcPct val="100000"/>
              </a:lnSpc>
              <a:spcBef>
                <a:spcPts val="300"/>
              </a:spcBef>
              <a:spcAft>
                <a:spcPct val="0"/>
              </a:spcAft>
              <a:buClr>
                <a:srgbClr val="DD1D21"/>
              </a:buClr>
              <a:buSzPct val="125000"/>
              <a:buFont typeface="Arial" charset="0"/>
              <a:buChar char="▪"/>
              <a:tabLst/>
              <a:defRPr/>
            </a:pPr>
            <a:r>
              <a:rPr kumimoji="0" lang="en-US" altLang="en-US" sz="1000" b="1"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Project Team:   Contract Holder (Eworitse Saniyo), CP Support (Tarere Oji), SE Support (Franklin Igbodo) Contract Owner (Chris Griffiths), Transformation Coach (Alphonsus Akaka)</a:t>
            </a:r>
            <a:endParaRPr kumimoji="0" lang="en-US" sz="1000" b="0" i="0" u="none" strike="noStrike" kern="1200" cap="none" spc="0" normalizeH="0" baseline="0" noProof="0" dirty="0">
              <a:ln>
                <a:noFill/>
              </a:ln>
              <a:solidFill>
                <a:srgbClr val="595959"/>
              </a:solidFill>
              <a:effectLst/>
              <a:uLnTx/>
              <a:uFillTx/>
              <a:latin typeface="ShellMedium" panose="00000600000000000000" pitchFamily="50" charset="0"/>
              <a:ea typeface="Arial Unicode MS" pitchFamily="34" charset="-128"/>
            </a:endParaRPr>
          </a:p>
        </p:txBody>
      </p:sp>
      <p:sp>
        <p:nvSpPr>
          <p:cNvPr id="43" name="TextBox 42">
            <a:extLst>
              <a:ext uri="{FF2B5EF4-FFF2-40B4-BE49-F238E27FC236}">
                <a16:creationId xmlns:a16="http://schemas.microsoft.com/office/drawing/2014/main" id="{D0FD4CF6-A958-4A5C-BC14-3715F24CBDF2}"/>
              </a:ext>
            </a:extLst>
          </p:cNvPr>
          <p:cNvSpPr txBox="1">
            <a:spLocks/>
          </p:cNvSpPr>
          <p:nvPr>
            <p:custDataLst>
              <p:tags r:id="rId8"/>
            </p:custDataLst>
          </p:nvPr>
        </p:nvSpPr>
        <p:spPr>
          <a:xfrm>
            <a:off x="6179956" y="4000106"/>
            <a:ext cx="5432787" cy="11967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sz="1568" baseline="0">
                <a:latin typeface="+mn-lt"/>
                <a:ea typeface="Arial Unicode MS" pitchFamily="34" charset="-128"/>
                <a:cs typeface="Arial Unicode MS" pitchFamily="34" charset="-128"/>
              </a:defRPr>
            </a:lvl1pPr>
            <a:lvl2pPr marL="193655" lvl="1" indent="-192067" defTabSz="895255" eaLnBrk="1" hangingPunct="1">
              <a:buClr>
                <a:schemeClr val="tx2"/>
              </a:buClr>
              <a:buSzPct val="125000"/>
              <a:buFont typeface="Arial" charset="0"/>
              <a:buChar char="▪"/>
              <a:defRPr sz="1568" baseline="0">
                <a:latin typeface="+mn-lt"/>
                <a:ea typeface="Arial Unicode MS" pitchFamily="34" charset="-128"/>
                <a:cs typeface="Arial Unicode MS" pitchFamily="34" charset="-128"/>
              </a:defRPr>
            </a:lvl2pPr>
            <a:lvl3pPr marL="457151" lvl="2" indent="-261910"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3pPr>
            <a:lvl4pPr marL="614298" lvl="3" indent="-155558"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4pPr>
            <a:lvl5pPr marL="749728" lvl="4" indent="-130162" defTabSz="895255" eaLnBrk="1" hangingPunct="1">
              <a:buClr>
                <a:schemeClr val="tx2"/>
              </a:buClr>
              <a:buSzPct val="89000"/>
              <a:buFont typeface="Arial" charset="0"/>
              <a:buChar char="-"/>
              <a:defRPr sz="1568" baseline="0">
                <a:latin typeface="+mn-lt"/>
                <a:ea typeface="Arial Unicode MS" pitchFamily="34" charset="-128"/>
                <a:cs typeface="Arial Unicode MS" pitchFamily="34" charset="-128"/>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endPar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endParaRPr>
          </a:p>
          <a:p>
            <a:pPr marL="1588" marR="0" lvl="1" indent="0" algn="l" defTabSz="895255" rtl="0" eaLnBrk="1" fontAlgn="base" latinLnBrk="0" hangingPunct="1">
              <a:lnSpc>
                <a:spcPct val="100000"/>
              </a:lnSpc>
              <a:spcBef>
                <a:spcPct val="0"/>
              </a:spcBef>
              <a:spcAft>
                <a:spcPct val="0"/>
              </a:spcAft>
              <a:buClr>
                <a:srgbClr val="DD1D21"/>
              </a:buClr>
              <a:buSzPct val="125000"/>
              <a:buFont typeface="Arial" charset="0"/>
              <a:buNone/>
              <a:tabLst/>
              <a:defRPr/>
            </a:pPr>
            <a:endPar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endParaRPr>
          </a:p>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r>
              <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NAPIMS Engagement on ACV increase for new vendor.</a:t>
            </a:r>
          </a:p>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r>
              <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MCB Approval to increase  ACV for new vendor.</a:t>
            </a:r>
          </a:p>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r>
              <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In case there is objection or delay from NAPIMS and MCB to increase the ACV, the CO (Chris Griffiths) need to give his nod to use the current ACV in the contract.  </a:t>
            </a:r>
          </a:p>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endPar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endParaRPr>
          </a:p>
          <a:p>
            <a:pPr marL="1588" marR="0" lvl="1" indent="0" algn="l" defTabSz="895255" rtl="0" eaLnBrk="1" fontAlgn="base" latinLnBrk="0" hangingPunct="1">
              <a:lnSpc>
                <a:spcPct val="100000"/>
              </a:lnSpc>
              <a:spcBef>
                <a:spcPct val="0"/>
              </a:spcBef>
              <a:spcAft>
                <a:spcPct val="0"/>
              </a:spcAft>
              <a:buClr>
                <a:srgbClr val="DD1D21"/>
              </a:buClr>
              <a:buSzPct val="125000"/>
              <a:buFont typeface="Arial" charset="0"/>
              <a:buNone/>
              <a:tabLst/>
              <a:defRPr/>
            </a:pPr>
            <a:endPar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endParaRPr>
          </a:p>
        </p:txBody>
      </p:sp>
      <p:sp>
        <p:nvSpPr>
          <p:cNvPr id="46" name="TextBox 45">
            <a:extLst>
              <a:ext uri="{FF2B5EF4-FFF2-40B4-BE49-F238E27FC236}">
                <a16:creationId xmlns:a16="http://schemas.microsoft.com/office/drawing/2014/main" id="{5B4A4B23-AF49-4DF3-8993-1EED12D635C6}"/>
              </a:ext>
            </a:extLst>
          </p:cNvPr>
          <p:cNvSpPr txBox="1">
            <a:spLocks/>
          </p:cNvSpPr>
          <p:nvPr>
            <p:custDataLst>
              <p:tags r:id="rId9"/>
            </p:custDataLst>
          </p:nvPr>
        </p:nvSpPr>
        <p:spPr>
          <a:xfrm>
            <a:off x="6170718" y="5775918"/>
            <a:ext cx="5432787" cy="2000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sz="1568" baseline="0">
                <a:latin typeface="+mn-lt"/>
                <a:ea typeface="Arial Unicode MS" pitchFamily="34" charset="-128"/>
                <a:cs typeface="Arial Unicode MS" pitchFamily="34" charset="-128"/>
              </a:defRPr>
            </a:lvl1pPr>
            <a:lvl2pPr marL="193655" lvl="1" indent="-192067" defTabSz="895255" eaLnBrk="1" hangingPunct="1">
              <a:buClr>
                <a:schemeClr val="tx2"/>
              </a:buClr>
              <a:buSzPct val="125000"/>
              <a:buFont typeface="Arial" charset="0"/>
              <a:buChar char="▪"/>
              <a:defRPr sz="1568" baseline="0">
                <a:latin typeface="+mn-lt"/>
                <a:ea typeface="Arial Unicode MS" pitchFamily="34" charset="-128"/>
                <a:cs typeface="Arial Unicode MS" pitchFamily="34" charset="-128"/>
              </a:defRPr>
            </a:lvl2pPr>
            <a:lvl3pPr marL="457151" lvl="2" indent="-261910"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3pPr>
            <a:lvl4pPr marL="614298" lvl="3" indent="-155558"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4pPr>
            <a:lvl5pPr marL="749728" lvl="4" indent="-130162" defTabSz="895255" eaLnBrk="1" hangingPunct="1">
              <a:buClr>
                <a:schemeClr val="tx2"/>
              </a:buClr>
              <a:buSzPct val="89000"/>
              <a:buFont typeface="Arial" charset="0"/>
              <a:buChar char="-"/>
              <a:defRPr sz="1568" baseline="0">
                <a:latin typeface="+mn-lt"/>
                <a:ea typeface="Arial Unicode MS" pitchFamily="34" charset="-128"/>
                <a:cs typeface="Arial Unicode MS" pitchFamily="34" charset="-128"/>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r>
              <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Progress to L2 at a minimum.</a:t>
            </a:r>
          </a:p>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r>
              <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Alignment with CP and CH on new Pipelines Pigging vendor. </a:t>
            </a:r>
          </a:p>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r>
              <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Review Risk Assessment for new activity.  </a:t>
            </a:r>
          </a:p>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r>
              <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Develop comprehensive rollout plan.  </a:t>
            </a:r>
          </a:p>
          <a:p>
            <a:pPr marL="1588" marR="0" lvl="1" indent="0" algn="l" defTabSz="895255" rtl="0" eaLnBrk="1" fontAlgn="base" latinLnBrk="0" hangingPunct="1">
              <a:lnSpc>
                <a:spcPct val="100000"/>
              </a:lnSpc>
              <a:spcBef>
                <a:spcPct val="0"/>
              </a:spcBef>
              <a:spcAft>
                <a:spcPct val="0"/>
              </a:spcAft>
              <a:buClr>
                <a:srgbClr val="DD1D21"/>
              </a:buClr>
              <a:buSzPct val="125000"/>
              <a:buFont typeface="Arial" charset="0"/>
              <a:buNone/>
              <a:tabLst/>
              <a:defRPr/>
            </a:pPr>
            <a:r>
              <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 </a:t>
            </a:r>
          </a:p>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endPar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endParaRPr>
          </a:p>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endPar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endParaRPr>
          </a:p>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endParaRPr kumimoji="0" lang="en-US" sz="700" b="1"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endParaRPr>
          </a:p>
        </p:txBody>
      </p:sp>
    </p:spTree>
    <p:custDataLst>
      <p:tags r:id="rId2"/>
    </p:custDataLst>
    <p:extLst>
      <p:ext uri="{BB962C8B-B14F-4D97-AF65-F5344CB8AC3E}">
        <p14:creationId xmlns:p14="http://schemas.microsoft.com/office/powerpoint/2010/main" val="21764874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NAME" val="Moon"/>
</p:tagLst>
</file>

<file path=ppt/tags/tag42.xml><?xml version="1.0" encoding="utf-8"?>
<p:tagLst xmlns:a="http://schemas.openxmlformats.org/drawingml/2006/main" xmlns:r="http://schemas.openxmlformats.org/officeDocument/2006/relationships" xmlns:p="http://schemas.openxmlformats.org/presentationml/2006/main">
  <p:tag name="NAME" val="Moon"/>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5.xml><?xml version="1.0" encoding="utf-8"?>
<p:tagLst xmlns:a="http://schemas.openxmlformats.org/drawingml/2006/main" xmlns:r="http://schemas.openxmlformats.org/officeDocument/2006/relationships" xmlns:p="http://schemas.openxmlformats.org/presentationml/2006/main">
  <p:tag name="NAME" val="Moon"/>
</p:tagLst>
</file>

<file path=ppt/tags/tag46.xml><?xml version="1.0" encoding="utf-8"?>
<p:tagLst xmlns:a="http://schemas.openxmlformats.org/drawingml/2006/main" xmlns:r="http://schemas.openxmlformats.org/officeDocument/2006/relationships" xmlns:p="http://schemas.openxmlformats.org/presentationml/2006/main">
  <p:tag name="NAME" val="Moon"/>
</p:tagLst>
</file>

<file path=ppt/tags/tag4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Moon"/>
</p:tagLst>
</file>

<file path=ppt/tags/tag61.xml><?xml version="1.0" encoding="utf-8"?>
<p:tagLst xmlns:a="http://schemas.openxmlformats.org/drawingml/2006/main" xmlns:r="http://schemas.openxmlformats.org/officeDocument/2006/relationships" xmlns:p="http://schemas.openxmlformats.org/presentationml/2006/main">
  <p:tag name="NAME" val="Moon"/>
</p:tagLst>
</file>

<file path=ppt/tags/tag62.xml><?xml version="1.0" encoding="utf-8"?>
<p:tagLst xmlns:a="http://schemas.openxmlformats.org/drawingml/2006/main" xmlns:r="http://schemas.openxmlformats.org/officeDocument/2006/relationships" xmlns:p="http://schemas.openxmlformats.org/presentationml/2006/main">
  <p:tag name="NAME" val="Moon"/>
</p:tagLst>
</file>

<file path=ppt/tags/tag63.xml><?xml version="1.0" encoding="utf-8"?>
<p:tagLst xmlns:a="http://schemas.openxmlformats.org/drawingml/2006/main" xmlns:r="http://schemas.openxmlformats.org/officeDocument/2006/relationships" xmlns:p="http://schemas.openxmlformats.org/presentationml/2006/main">
  <p:tag name="NAME" val="Moon"/>
</p:tagLst>
</file>

<file path=ppt/tags/tag64.xml><?xml version="1.0" encoding="utf-8"?>
<p:tagLst xmlns:a="http://schemas.openxmlformats.org/drawingml/2006/main" xmlns:r="http://schemas.openxmlformats.org/officeDocument/2006/relationships" xmlns:p="http://schemas.openxmlformats.org/presentationml/2006/main">
  <p:tag name="NAME" val="Moon"/>
</p:tagLst>
</file>

<file path=ppt/tags/tag65.xml><?xml version="1.0" encoding="utf-8"?>
<p:tagLst xmlns:a="http://schemas.openxmlformats.org/drawingml/2006/main" xmlns:r="http://schemas.openxmlformats.org/officeDocument/2006/relationships" xmlns:p="http://schemas.openxmlformats.org/presentationml/2006/main">
  <p:tag name="NAME" val="Moon"/>
</p:tagLst>
</file>

<file path=ppt/tags/tag6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NOPREFERENCE" val="Fals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Qemwp5yST9C_d8lf_YJUcg"/>
</p:tagLst>
</file>

<file path=ppt/tags/tag81.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82.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83.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84.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85.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Shell_CF_RDS598">
  <a:themeElements>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fontScheme name="Custom 40">
      <a:majorFont>
        <a:latin typeface="Futura Bold"/>
        <a:ea typeface="ＭＳ Ｐゴシック"/>
        <a:cs typeface=""/>
      </a:majorFont>
      <a:minorFont>
        <a:latin typeface="Futura Mediu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hell_CF_RDS598.potx" id="{BBEC8305-3715-4CE6-8699-B28A10179CF1}" vid="{7341CF39-6A8E-487C-9B02-3592AEE52BE5}"/>
    </a:ext>
  </a:extLst>
</a:theme>
</file>

<file path=ppt/theme/theme2.xml><?xml version="1.0" encoding="utf-8"?>
<a:theme xmlns:a="http://schemas.openxmlformats.org/drawingml/2006/main" name="1_Shell_CF_RDS598">
  <a:themeElements>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fontScheme name="Custom 40">
      <a:majorFont>
        <a:latin typeface="Futura Bold"/>
        <a:ea typeface="ＭＳ Ｐゴシック"/>
        <a:cs typeface=""/>
      </a:majorFont>
      <a:minorFont>
        <a:latin typeface="Futura Mediu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hell_CF_RDS598.potx" id="{BBEC8305-3715-4CE6-8699-B28A10179CF1}" vid="{7341CF39-6A8E-487C-9B02-3592AEE52BE5}"/>
    </a:ext>
  </a:extLst>
</a:theme>
</file>

<file path=ppt/theme/theme3.xml><?xml version="1.0" encoding="utf-8"?>
<a:theme xmlns:a="http://schemas.openxmlformats.org/drawingml/2006/main" name="2_Shell_CF_RDS598">
  <a:themeElements>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fontScheme name="Custom 40">
      <a:majorFont>
        <a:latin typeface="Futura Bold"/>
        <a:ea typeface="ＭＳ Ｐゴシック"/>
        <a:cs typeface=""/>
      </a:majorFont>
      <a:minorFont>
        <a:latin typeface="Futura Mediu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hell_CF_RDS598.potx" id="{BBEC8305-3715-4CE6-8699-B28A10179CF1}" vid="{7341CF39-6A8E-487C-9B02-3592AEE52BE5}"/>
    </a:ext>
  </a:extLst>
</a:theme>
</file>

<file path=ppt/theme/theme4.xml><?xml version="1.0" encoding="utf-8"?>
<a:theme xmlns:a="http://schemas.openxmlformats.org/drawingml/2006/main" name="3_Shell_CF_RDS598">
  <a:themeElements>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fontScheme name="Custom 40">
      <a:majorFont>
        <a:latin typeface="Futura Bold"/>
        <a:ea typeface="ＭＳ Ｐゴシック"/>
        <a:cs typeface=""/>
      </a:majorFont>
      <a:minorFont>
        <a:latin typeface="Futura Mediu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hell_CF_RDS598.potx" id="{BBEC8305-3715-4CE6-8699-B28A10179CF1}" vid="{7341CF39-6A8E-487C-9B02-3592AEE52BE5}"/>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273</TotalTime>
  <Words>448</Words>
  <Application>Microsoft Office PowerPoint</Application>
  <PresentationFormat>Widescreen</PresentationFormat>
  <Paragraphs>47</Paragraphs>
  <Slides>1</Slides>
  <Notes>1</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1</vt:i4>
      </vt:variant>
    </vt:vector>
  </HeadingPairs>
  <TitlesOfParts>
    <vt:vector size="12" baseType="lpstr">
      <vt:lpstr>Arial</vt:lpstr>
      <vt:lpstr>Calibri</vt:lpstr>
      <vt:lpstr>Futura Bold</vt:lpstr>
      <vt:lpstr>Futura Medium</vt:lpstr>
      <vt:lpstr>ShellMedium</vt:lpstr>
      <vt:lpstr>Wingdings 3</vt:lpstr>
      <vt:lpstr>Shell_CF_RDS598</vt:lpstr>
      <vt:lpstr>1_Shell_CF_RDS598</vt:lpstr>
      <vt:lpstr>2_Shell_CF_RDS598</vt:lpstr>
      <vt:lpstr>3_Shell_CF_RDS598</vt:lpstr>
      <vt:lpstr>think-cell Slide</vt:lpstr>
      <vt:lpstr>Change IR Crushing activity contract from Major Project to Pipelines Pigging Contract  by Feb 2021</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timise Aircraft fleet from 5 to 4 to meet SCiN demand by October, 2020</dc:title>
  <dc:creator>Onyeka, Ikechukwu JN SPDC-UPC/G/USL</dc:creator>
  <cp:lastModifiedBy>Akaka, Alphonsus SPDC-UPC/G/TP</cp:lastModifiedBy>
  <cp:revision>138</cp:revision>
  <dcterms:created xsi:type="dcterms:W3CDTF">2020-06-11T10:49:28Z</dcterms:created>
  <dcterms:modified xsi:type="dcterms:W3CDTF">2020-11-16T15:08:22Z</dcterms:modified>
</cp:coreProperties>
</file>